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4" r:id="rId1"/>
    <p:sldMasterId id="2147484448" r:id="rId2"/>
    <p:sldMasterId id="2147484524" r:id="rId3"/>
    <p:sldMasterId id="2147484548" r:id="rId4"/>
  </p:sldMasterIdLst>
  <p:notesMasterIdLst>
    <p:notesMasterId r:id="rId10"/>
  </p:notesMasterIdLst>
  <p:handoutMasterIdLst>
    <p:handoutMasterId r:id="rId11"/>
  </p:handoutMasterIdLst>
  <p:sldIdLst>
    <p:sldId id="1200" r:id="rId5"/>
    <p:sldId id="1219" r:id="rId6"/>
    <p:sldId id="1226" r:id="rId7"/>
    <p:sldId id="1252" r:id="rId8"/>
    <p:sldId id="1253" r:id="rId9"/>
  </p:sldIdLst>
  <p:sldSz cx="9144000" cy="5143500" type="screen16x9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5D70"/>
    <a:srgbClr val="F56913"/>
    <a:srgbClr val="A50021"/>
    <a:srgbClr val="CC0000"/>
    <a:srgbClr val="FFFF99"/>
    <a:srgbClr val="EEB7B9"/>
    <a:srgbClr val="EFB3B9"/>
    <a:srgbClr val="E1B3B9"/>
    <a:srgbClr val="E6B3B9"/>
    <a:srgbClr val="E6B3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087" autoAdjust="0"/>
  </p:normalViewPr>
  <p:slideViewPr>
    <p:cSldViewPr>
      <p:cViewPr>
        <p:scale>
          <a:sx n="125" d="100"/>
          <a:sy n="125" d="100"/>
        </p:scale>
        <p:origin x="-1320" y="-3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3128"/>
        <p:guide pos="214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FFA2F06-8A75-4379-BB90-B49E9E5022E8}" type="datetimeFigureOut">
              <a:rPr lang="ru-RU"/>
              <a:pPr>
                <a:defRPr/>
              </a:pPr>
              <a:t>14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>
                <a:latin typeface="Calibri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>
                <a:latin typeface="Calibri" charset="0"/>
              </a:defRPr>
            </a:lvl1pPr>
          </a:lstStyle>
          <a:p>
            <a:pPr>
              <a:defRPr/>
            </a:pPr>
            <a:fld id="{6C7FA827-B82E-4CCA-90BA-C1DC99E0D4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2269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9C3E808-1911-4954-B622-DA99DFD3192D}" type="datetimeFigureOut">
              <a:rPr lang="ru-RU"/>
              <a:pPr>
                <a:defRPr/>
              </a:pPr>
              <a:t>14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8" rIns="91436" bIns="4571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15909"/>
            <a:ext cx="5438140" cy="4467701"/>
          </a:xfrm>
          <a:prstGeom prst="rect">
            <a:avLst/>
          </a:prstGeom>
        </p:spPr>
        <p:txBody>
          <a:bodyPr vert="horz" lIns="91436" tIns="45718" rIns="91436" bIns="4571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B8EF21-0B0C-4577-9ACD-4E38648DF0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65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157700" name="Дата 3"/>
          <p:cNvSpPr>
            <a:spLocks noGrp="1"/>
          </p:cNvSpPr>
          <p:nvPr>
            <p:ph type="dt" sz="quarter" idx="1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5D3A3E4-E6D0-4AF7-B06B-3DE8B2BFB684}" type="datetime6">
              <a:rPr lang="en-US" altLang="ru-RU" smtClean="0">
                <a:ea typeface="MS PGothic" pitchFamily="34" charset="-128"/>
              </a:rPr>
              <a:pPr/>
              <a:t>October 24</a:t>
            </a:fld>
            <a:endParaRPr lang="en-US" altLang="ru-RU" smtClean="0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2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3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0252">
              <a:defRPr/>
            </a:pPr>
            <a:fld id="{261505BE-E600-468C-8B49-A827479A4612}" type="slidenum">
              <a:rPr lang="ru-RU">
                <a:solidFill>
                  <a:prstClr val="black"/>
                </a:solidFill>
                <a:latin typeface="Calibri"/>
              </a:rPr>
              <a:pPr defTabSz="920252">
                <a:defRPr/>
              </a:pPr>
              <a:t>4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890588" y="2517775"/>
            <a:ext cx="5513387" cy="565150"/>
          </a:xfrm>
          <a:prstGeom prst="rect">
            <a:avLst/>
          </a:prstGeom>
        </p:spPr>
        <p:txBody>
          <a:bodyPr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20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20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  <a:prstGeom prst="rect">
            <a:avLst/>
          </a:prstGeo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96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75406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/>
          <p:cNvSpPr/>
          <p:nvPr userDrawn="1"/>
        </p:nvSpPr>
        <p:spPr>
          <a:xfrm>
            <a:off x="0" y="0"/>
            <a:ext cx="9144000" cy="4865688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Rectangle 22"/>
          <p:cNvSpPr/>
          <p:nvPr userDrawn="1"/>
        </p:nvSpPr>
        <p:spPr>
          <a:xfrm>
            <a:off x="0" y="4875213"/>
            <a:ext cx="9144000" cy="2682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pSp>
        <p:nvGrpSpPr>
          <p:cNvPr id="5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6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7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8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19573" y="1809637"/>
            <a:ext cx="7772400" cy="11251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9165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200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200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760408" y="1025130"/>
            <a:ext cx="700088" cy="248245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7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93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2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3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58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74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91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815921" eaLnBrk="0" fontAlgn="auto" hangingPunct="0">
                <a:spcBef>
                  <a:spcPts val="100"/>
                </a:spcBef>
                <a:spcAft>
                  <a:spcPts val="0"/>
                </a:spcAft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  <a:br>
                <a:rPr lang="en-US" sz="900" b="1" dirty="0">
                  <a:solidFill>
                    <a:srgbClr val="FFFFFF"/>
                  </a:solidFill>
                  <a:latin typeface="Myriad Pro"/>
                </a:rPr>
              </a:br>
              <a:r>
                <a:rPr lang="en-US" sz="900" b="1" dirty="0">
                  <a:solidFill>
                    <a:srgbClr val="FFFFFF"/>
                  </a:solidFill>
                  <a:latin typeface="Myriad Pro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43311" y="161119"/>
            <a:ext cx="8218873" cy="431736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>
              <a:defRPr sz="15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804681" y="510323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817609" y="135717"/>
            <a:ext cx="8273654" cy="114276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" y="4837419"/>
            <a:ext cx="6537228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196" y="4837419"/>
            <a:ext cx="1560185" cy="161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61225" y="4855377"/>
            <a:ext cx="579668" cy="114275"/>
          </a:xfrm>
          <a:prstGeom prst="rect">
            <a:avLst/>
          </a:prstGeom>
        </p:spPr>
        <p:txBody>
          <a:bodyPr anchor="ctr"/>
          <a:lstStyle>
            <a:lvl1pPr algn="ctr">
              <a:defRPr sz="11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Группа 20"/>
          <p:cNvGrpSpPr/>
          <p:nvPr userDrawn="1"/>
        </p:nvGrpSpPr>
        <p:grpSpPr>
          <a:xfrm>
            <a:off x="142931" y="207657"/>
            <a:ext cx="594227" cy="359802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738"/>
              <a:endParaRPr lang="ru-RU" sz="14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5407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8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4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6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7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-7938" y="2383"/>
            <a:ext cx="9151938" cy="507206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4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27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6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91531" y="4720201"/>
            <a:ext cx="548700" cy="393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1E19B-3296-4208-91A2-B9E4A5DD3B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| Координационный Совет начальников железных дорог | 05/10/15</a:t>
            </a:r>
            <a:endParaRPr lang="en-US"/>
          </a:p>
        </p:txBody>
      </p:sp>
      <p:sp>
        <p:nvSpPr>
          <p:cNvPr id="26" name="Rectangle 17"/>
          <p:cNvSpPr>
            <a:spLocks noChangeArrowheads="1"/>
          </p:cNvSpPr>
          <p:nvPr userDrawn="1"/>
        </p:nvSpPr>
        <p:spPr bwMode="auto">
          <a:xfrm>
            <a:off x="0" y="4945857"/>
            <a:ext cx="9144000" cy="19764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336" tIns="45663" rIns="91336" bIns="4566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695531" y="4967978"/>
            <a:ext cx="406400" cy="134541"/>
            <a:chOff x="5385680" y="6487509"/>
            <a:chExt cx="1039813" cy="461962"/>
          </a:xfrm>
        </p:grpSpPr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33591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557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4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85B8F77E-9B37-46FD-A341-379935992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Технический совет по безопасности движения поездов | Красноярская дирекция инфраструктур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19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24B1C-1B60-42BB-9B0C-06C26477C6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ЕКАСУИ Дистанции пути| декабрь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369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5537" y="1437625"/>
            <a:ext cx="8529889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23528" y="2494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1213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кла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800" b="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34597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21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203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251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К 5 феврал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>
            <a:lvl1pPr>
              <a:defRPr lang="ru-RU" sz="18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 anchor="b"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044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67544" y="1203598"/>
            <a:ext cx="8047806" cy="2900412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770607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7167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| Координационный Совет начальников железных дорог | 05/10/15</a:t>
            </a:r>
            <a:endParaRPr lang="ru-RU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F9E1AED-F888-4CDA-B4A7-D8280D7C1BB3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42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795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699542"/>
            <a:ext cx="8244408" cy="138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2" name="Группа 9"/>
          <p:cNvGrpSpPr/>
          <p:nvPr userDrawn="1"/>
        </p:nvGrpSpPr>
        <p:grpSpPr>
          <a:xfrm>
            <a:off x="0" y="627536"/>
            <a:ext cx="9144000" cy="103833"/>
            <a:chOff x="0" y="4085632"/>
            <a:chExt cx="9144000" cy="103833"/>
          </a:xfrm>
        </p:grpSpPr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0" y="4137548"/>
              <a:ext cx="9144000" cy="0"/>
            </a:xfrm>
            <a:prstGeom prst="line">
              <a:avLst/>
            </a:prstGeom>
            <a:ln w="22225">
              <a:solidFill>
                <a:srgbClr val="ED1B2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Группа 5"/>
            <p:cNvGrpSpPr/>
            <p:nvPr userDrawn="1"/>
          </p:nvGrpSpPr>
          <p:grpSpPr>
            <a:xfrm>
              <a:off x="539552" y="4085632"/>
              <a:ext cx="103833" cy="103833"/>
              <a:chOff x="395536" y="4074729"/>
              <a:chExt cx="125638" cy="125638"/>
            </a:xfrm>
          </p:grpSpPr>
          <p:sp>
            <p:nvSpPr>
              <p:cNvPr id="7" name="Овал 6"/>
              <p:cNvSpPr/>
              <p:nvPr userDrawn="1"/>
            </p:nvSpPr>
            <p:spPr>
              <a:xfrm>
                <a:off x="395536" y="4074729"/>
                <a:ext cx="125638" cy="125638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Овал 7"/>
              <p:cNvSpPr/>
              <p:nvPr userDrawn="1"/>
            </p:nvSpPr>
            <p:spPr>
              <a:xfrm>
                <a:off x="440158" y="4119351"/>
                <a:ext cx="36394" cy="36394"/>
              </a:xfrm>
              <a:prstGeom prst="ellipse">
                <a:avLst/>
              </a:prstGeom>
              <a:solidFill>
                <a:schemeClr val="bg1"/>
              </a:solidFill>
              <a:ln w="22225">
                <a:solidFill>
                  <a:srgbClr val="ED1B2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3" name="Заголовок 2"/>
          <p:cNvSpPr txBox="1">
            <a:spLocks/>
          </p:cNvSpPr>
          <p:nvPr userDrawn="1"/>
        </p:nvSpPr>
        <p:spPr>
          <a:xfrm>
            <a:off x="251520" y="195488"/>
            <a:ext cx="7939794" cy="494343"/>
          </a:xfrm>
          <a:prstGeom prst="rect">
            <a:avLst/>
          </a:prstGeom>
        </p:spPr>
        <p:txBody>
          <a:bodyPr vert="horz" lIns="91436" tIns="45718" rIns="91436" bIns="45718" rtlCol="0" anchor="ctr">
            <a:noAutofit/>
          </a:bodyPr>
          <a:lstStyle/>
          <a:p>
            <a:pPr defTabSz="914355">
              <a:lnSpc>
                <a:spcPct val="90000"/>
              </a:lnSpc>
              <a:defRPr/>
            </a:pPr>
            <a:endParaRPr lang="ru-RU" sz="2400" b="1" dirty="0" smtClean="0">
              <a:solidFill>
                <a:srgbClr val="1F497D"/>
              </a:solidFill>
              <a:cs typeface="Arial" pitchFamily="34" charset="0"/>
            </a:endParaRPr>
          </a:p>
        </p:txBody>
      </p:sp>
      <p:sp>
        <p:nvSpPr>
          <p:cNvPr id="12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092280" y="-20538"/>
            <a:ext cx="2057400" cy="274637"/>
          </a:xfrm>
        </p:spPr>
        <p:txBody>
          <a:bodyPr/>
          <a:lstStyle/>
          <a:p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513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6688"/>
            <a:ext cx="8229600" cy="82073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383619"/>
            <a:ext cx="1316459" cy="32668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54990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7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9094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9144000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 userDrawn="1"/>
        </p:nvSpPr>
        <p:spPr bwMode="auto">
          <a:xfrm>
            <a:off x="0" y="15478"/>
            <a:ext cx="9144000" cy="646510"/>
          </a:xfrm>
          <a:custGeom>
            <a:avLst/>
            <a:gdLst>
              <a:gd name="T0" fmla="*/ 0 w 23040"/>
              <a:gd name="T1" fmla="*/ 1625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5 h 1629"/>
              <a:gd name="T16" fmla="*/ 16717 w 23040"/>
              <a:gd name="T17" fmla="*/ 1612 h 1629"/>
              <a:gd name="T18" fmla="*/ 16737 w 23040"/>
              <a:gd name="T19" fmla="*/ 1607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4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6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4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7 h 1629"/>
              <a:gd name="T78" fmla="*/ 18203 w 23040"/>
              <a:gd name="T79" fmla="*/ 217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4 h 1629"/>
              <a:gd name="T88" fmla="*/ 18311 w 23040"/>
              <a:gd name="T89" fmla="*/ 179 h 1629"/>
              <a:gd name="T90" fmla="*/ 18333 w 23040"/>
              <a:gd name="T91" fmla="*/ 173 h 1629"/>
              <a:gd name="T92" fmla="*/ 18356 w 23040"/>
              <a:gd name="T93" fmla="*/ 167 h 1629"/>
              <a:gd name="T94" fmla="*/ 18379 w 23040"/>
              <a:gd name="T95" fmla="*/ 163 h 1629"/>
              <a:gd name="T96" fmla="*/ 18426 w 23040"/>
              <a:gd name="T97" fmla="*/ 155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5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5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5"/>
                </a:lnTo>
                <a:lnTo>
                  <a:pt x="16717" y="1612"/>
                </a:lnTo>
                <a:lnTo>
                  <a:pt x="16737" y="1607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4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6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4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7"/>
                </a:lnTo>
                <a:lnTo>
                  <a:pt x="18203" y="217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4"/>
                </a:lnTo>
                <a:lnTo>
                  <a:pt x="18311" y="179"/>
                </a:lnTo>
                <a:lnTo>
                  <a:pt x="18333" y="173"/>
                </a:lnTo>
                <a:lnTo>
                  <a:pt x="18356" y="167"/>
                </a:lnTo>
                <a:lnTo>
                  <a:pt x="18379" y="163"/>
                </a:lnTo>
                <a:lnTo>
                  <a:pt x="18426" y="155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5"/>
                </a:lnTo>
                <a:close/>
              </a:path>
            </a:pathLst>
          </a:custGeom>
          <a:solidFill>
            <a:srgbClr val="E21A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 userDrawn="1"/>
        </p:nvSpPr>
        <p:spPr bwMode="auto">
          <a:xfrm>
            <a:off x="0" y="0"/>
            <a:ext cx="9144000" cy="646510"/>
          </a:xfrm>
          <a:custGeom>
            <a:avLst/>
            <a:gdLst>
              <a:gd name="T0" fmla="*/ 0 w 23040"/>
              <a:gd name="T1" fmla="*/ 1626 h 1629"/>
              <a:gd name="T2" fmla="*/ 15620 w 23040"/>
              <a:gd name="T3" fmla="*/ 1629 h 1629"/>
              <a:gd name="T4" fmla="*/ 16478 w 23040"/>
              <a:gd name="T5" fmla="*/ 1629 h 1629"/>
              <a:gd name="T6" fmla="*/ 16534 w 23040"/>
              <a:gd name="T7" fmla="*/ 1629 h 1629"/>
              <a:gd name="T8" fmla="*/ 16584 w 23040"/>
              <a:gd name="T9" fmla="*/ 1628 h 1629"/>
              <a:gd name="T10" fmla="*/ 16632 w 23040"/>
              <a:gd name="T11" fmla="*/ 1625 h 1629"/>
              <a:gd name="T12" fmla="*/ 16675 w 23040"/>
              <a:gd name="T13" fmla="*/ 1619 h 1629"/>
              <a:gd name="T14" fmla="*/ 16697 w 23040"/>
              <a:gd name="T15" fmla="*/ 1616 h 1629"/>
              <a:gd name="T16" fmla="*/ 16717 w 23040"/>
              <a:gd name="T17" fmla="*/ 1612 h 1629"/>
              <a:gd name="T18" fmla="*/ 16737 w 23040"/>
              <a:gd name="T19" fmla="*/ 1608 h 1629"/>
              <a:gd name="T20" fmla="*/ 16757 w 23040"/>
              <a:gd name="T21" fmla="*/ 1603 h 1629"/>
              <a:gd name="T22" fmla="*/ 16776 w 23040"/>
              <a:gd name="T23" fmla="*/ 1596 h 1629"/>
              <a:gd name="T24" fmla="*/ 16795 w 23040"/>
              <a:gd name="T25" fmla="*/ 1590 h 1629"/>
              <a:gd name="T26" fmla="*/ 16813 w 23040"/>
              <a:gd name="T27" fmla="*/ 1583 h 1629"/>
              <a:gd name="T28" fmla="*/ 16831 w 23040"/>
              <a:gd name="T29" fmla="*/ 1576 h 1629"/>
              <a:gd name="T30" fmla="*/ 16849 w 23040"/>
              <a:gd name="T31" fmla="*/ 1566 h 1629"/>
              <a:gd name="T32" fmla="*/ 16867 w 23040"/>
              <a:gd name="T33" fmla="*/ 1557 h 1629"/>
              <a:gd name="T34" fmla="*/ 16885 w 23040"/>
              <a:gd name="T35" fmla="*/ 1547 h 1629"/>
              <a:gd name="T36" fmla="*/ 16903 w 23040"/>
              <a:gd name="T37" fmla="*/ 1535 h 1629"/>
              <a:gd name="T38" fmla="*/ 16920 w 23040"/>
              <a:gd name="T39" fmla="*/ 1524 h 1629"/>
              <a:gd name="T40" fmla="*/ 16939 w 23040"/>
              <a:gd name="T41" fmla="*/ 1511 h 1629"/>
              <a:gd name="T42" fmla="*/ 16956 w 23040"/>
              <a:gd name="T43" fmla="*/ 1497 h 1629"/>
              <a:gd name="T44" fmla="*/ 16975 w 23040"/>
              <a:gd name="T45" fmla="*/ 1482 h 1629"/>
              <a:gd name="T46" fmla="*/ 17012 w 23040"/>
              <a:gd name="T47" fmla="*/ 1448 h 1629"/>
              <a:gd name="T48" fmla="*/ 17050 w 23040"/>
              <a:gd name="T49" fmla="*/ 1410 h 1629"/>
              <a:gd name="T50" fmla="*/ 17091 w 23040"/>
              <a:gd name="T51" fmla="*/ 1368 h 1629"/>
              <a:gd name="T52" fmla="*/ 17135 w 23040"/>
              <a:gd name="T53" fmla="*/ 1321 h 1629"/>
              <a:gd name="T54" fmla="*/ 17885 w 23040"/>
              <a:gd name="T55" fmla="*/ 472 h 1629"/>
              <a:gd name="T56" fmla="*/ 17925 w 23040"/>
              <a:gd name="T57" fmla="*/ 428 h 1629"/>
              <a:gd name="T58" fmla="*/ 17965 w 23040"/>
              <a:gd name="T59" fmla="*/ 387 h 1629"/>
              <a:gd name="T60" fmla="*/ 18004 w 23040"/>
              <a:gd name="T61" fmla="*/ 351 h 1629"/>
              <a:gd name="T62" fmla="*/ 18043 w 23040"/>
              <a:gd name="T63" fmla="*/ 317 h 1629"/>
              <a:gd name="T64" fmla="*/ 18063 w 23040"/>
              <a:gd name="T65" fmla="*/ 302 h 1629"/>
              <a:gd name="T66" fmla="*/ 18084 w 23040"/>
              <a:gd name="T67" fmla="*/ 288 h 1629"/>
              <a:gd name="T68" fmla="*/ 18102 w 23040"/>
              <a:gd name="T69" fmla="*/ 275 h 1629"/>
              <a:gd name="T70" fmla="*/ 18122 w 23040"/>
              <a:gd name="T71" fmla="*/ 262 h 1629"/>
              <a:gd name="T72" fmla="*/ 18143 w 23040"/>
              <a:gd name="T73" fmla="*/ 249 h 1629"/>
              <a:gd name="T74" fmla="*/ 18163 w 23040"/>
              <a:gd name="T75" fmla="*/ 238 h 1629"/>
              <a:gd name="T76" fmla="*/ 18183 w 23040"/>
              <a:gd name="T77" fmla="*/ 228 h 1629"/>
              <a:gd name="T78" fmla="*/ 18203 w 23040"/>
              <a:gd name="T79" fmla="*/ 218 h 1629"/>
              <a:gd name="T80" fmla="*/ 18225 w 23040"/>
              <a:gd name="T81" fmla="*/ 209 h 1629"/>
              <a:gd name="T82" fmla="*/ 18245 w 23040"/>
              <a:gd name="T83" fmla="*/ 200 h 1629"/>
              <a:gd name="T84" fmla="*/ 18266 w 23040"/>
              <a:gd name="T85" fmla="*/ 193 h 1629"/>
              <a:gd name="T86" fmla="*/ 18288 w 23040"/>
              <a:gd name="T87" fmla="*/ 186 h 1629"/>
              <a:gd name="T88" fmla="*/ 18311 w 23040"/>
              <a:gd name="T89" fmla="*/ 179 h 1629"/>
              <a:gd name="T90" fmla="*/ 18333 w 23040"/>
              <a:gd name="T91" fmla="*/ 174 h 1629"/>
              <a:gd name="T92" fmla="*/ 18356 w 23040"/>
              <a:gd name="T93" fmla="*/ 167 h 1629"/>
              <a:gd name="T94" fmla="*/ 18379 w 23040"/>
              <a:gd name="T95" fmla="*/ 164 h 1629"/>
              <a:gd name="T96" fmla="*/ 18426 w 23040"/>
              <a:gd name="T97" fmla="*/ 156 h 1629"/>
              <a:gd name="T98" fmla="*/ 18477 w 23040"/>
              <a:gd name="T99" fmla="*/ 151 h 1629"/>
              <a:gd name="T100" fmla="*/ 18528 w 23040"/>
              <a:gd name="T101" fmla="*/ 147 h 1629"/>
              <a:gd name="T102" fmla="*/ 18583 w 23040"/>
              <a:gd name="T103" fmla="*/ 145 h 1629"/>
              <a:gd name="T104" fmla="*/ 23040 w 23040"/>
              <a:gd name="T105" fmla="*/ 145 h 1629"/>
              <a:gd name="T106" fmla="*/ 23040 w 23040"/>
              <a:gd name="T107" fmla="*/ 0 h 1629"/>
              <a:gd name="T108" fmla="*/ 18585 w 23040"/>
              <a:gd name="T109" fmla="*/ 0 h 1629"/>
              <a:gd name="T110" fmla="*/ 0 w 23040"/>
              <a:gd name="T111" fmla="*/ 0 h 1629"/>
              <a:gd name="T112" fmla="*/ 0 w 23040"/>
              <a:gd name="T113" fmla="*/ 1626 h 1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040" h="1629">
                <a:moveTo>
                  <a:pt x="0" y="1626"/>
                </a:moveTo>
                <a:lnTo>
                  <a:pt x="15620" y="1629"/>
                </a:lnTo>
                <a:lnTo>
                  <a:pt x="16478" y="1629"/>
                </a:lnTo>
                <a:lnTo>
                  <a:pt x="16534" y="1629"/>
                </a:lnTo>
                <a:lnTo>
                  <a:pt x="16584" y="1628"/>
                </a:lnTo>
                <a:lnTo>
                  <a:pt x="16632" y="1625"/>
                </a:lnTo>
                <a:lnTo>
                  <a:pt x="16675" y="1619"/>
                </a:lnTo>
                <a:lnTo>
                  <a:pt x="16697" y="1616"/>
                </a:lnTo>
                <a:lnTo>
                  <a:pt x="16717" y="1612"/>
                </a:lnTo>
                <a:lnTo>
                  <a:pt x="16737" y="1608"/>
                </a:lnTo>
                <a:lnTo>
                  <a:pt x="16757" y="1603"/>
                </a:lnTo>
                <a:lnTo>
                  <a:pt x="16776" y="1596"/>
                </a:lnTo>
                <a:lnTo>
                  <a:pt x="16795" y="1590"/>
                </a:lnTo>
                <a:lnTo>
                  <a:pt x="16813" y="1583"/>
                </a:lnTo>
                <a:lnTo>
                  <a:pt x="16831" y="1576"/>
                </a:lnTo>
                <a:lnTo>
                  <a:pt x="16849" y="1566"/>
                </a:lnTo>
                <a:lnTo>
                  <a:pt x="16867" y="1557"/>
                </a:lnTo>
                <a:lnTo>
                  <a:pt x="16885" y="1547"/>
                </a:lnTo>
                <a:lnTo>
                  <a:pt x="16903" y="1535"/>
                </a:lnTo>
                <a:lnTo>
                  <a:pt x="16920" y="1524"/>
                </a:lnTo>
                <a:lnTo>
                  <a:pt x="16939" y="1511"/>
                </a:lnTo>
                <a:lnTo>
                  <a:pt x="16956" y="1497"/>
                </a:lnTo>
                <a:lnTo>
                  <a:pt x="16975" y="1482"/>
                </a:lnTo>
                <a:lnTo>
                  <a:pt x="17012" y="1448"/>
                </a:lnTo>
                <a:lnTo>
                  <a:pt x="17050" y="1410"/>
                </a:lnTo>
                <a:lnTo>
                  <a:pt x="17091" y="1368"/>
                </a:lnTo>
                <a:lnTo>
                  <a:pt x="17135" y="1321"/>
                </a:lnTo>
                <a:lnTo>
                  <a:pt x="17885" y="472"/>
                </a:lnTo>
                <a:lnTo>
                  <a:pt x="17925" y="428"/>
                </a:lnTo>
                <a:lnTo>
                  <a:pt x="17965" y="387"/>
                </a:lnTo>
                <a:lnTo>
                  <a:pt x="18004" y="351"/>
                </a:lnTo>
                <a:lnTo>
                  <a:pt x="18043" y="317"/>
                </a:lnTo>
                <a:lnTo>
                  <a:pt x="18063" y="302"/>
                </a:lnTo>
                <a:lnTo>
                  <a:pt x="18084" y="288"/>
                </a:lnTo>
                <a:lnTo>
                  <a:pt x="18102" y="275"/>
                </a:lnTo>
                <a:lnTo>
                  <a:pt x="18122" y="262"/>
                </a:lnTo>
                <a:lnTo>
                  <a:pt x="18143" y="249"/>
                </a:lnTo>
                <a:lnTo>
                  <a:pt x="18163" y="238"/>
                </a:lnTo>
                <a:lnTo>
                  <a:pt x="18183" y="228"/>
                </a:lnTo>
                <a:lnTo>
                  <a:pt x="18203" y="218"/>
                </a:lnTo>
                <a:lnTo>
                  <a:pt x="18225" y="209"/>
                </a:lnTo>
                <a:lnTo>
                  <a:pt x="18245" y="200"/>
                </a:lnTo>
                <a:lnTo>
                  <a:pt x="18266" y="193"/>
                </a:lnTo>
                <a:lnTo>
                  <a:pt x="18288" y="186"/>
                </a:lnTo>
                <a:lnTo>
                  <a:pt x="18311" y="179"/>
                </a:lnTo>
                <a:lnTo>
                  <a:pt x="18333" y="174"/>
                </a:lnTo>
                <a:lnTo>
                  <a:pt x="18356" y="167"/>
                </a:lnTo>
                <a:lnTo>
                  <a:pt x="18379" y="164"/>
                </a:lnTo>
                <a:lnTo>
                  <a:pt x="18426" y="156"/>
                </a:lnTo>
                <a:lnTo>
                  <a:pt x="18477" y="151"/>
                </a:lnTo>
                <a:lnTo>
                  <a:pt x="18528" y="147"/>
                </a:lnTo>
                <a:lnTo>
                  <a:pt x="18583" y="145"/>
                </a:lnTo>
                <a:lnTo>
                  <a:pt x="23040" y="145"/>
                </a:lnTo>
                <a:lnTo>
                  <a:pt x="23040" y="0"/>
                </a:lnTo>
                <a:lnTo>
                  <a:pt x="18585" y="0"/>
                </a:lnTo>
                <a:lnTo>
                  <a:pt x="0" y="0"/>
                </a:lnTo>
                <a:lnTo>
                  <a:pt x="0" y="1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 userDrawn="1">
            <p:ph type="title"/>
          </p:nvPr>
        </p:nvSpPr>
        <p:spPr>
          <a:xfrm>
            <a:off x="0" y="0"/>
            <a:ext cx="6804248" cy="627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pSp>
        <p:nvGrpSpPr>
          <p:cNvPr id="2" name="Группа 12"/>
          <p:cNvGrpSpPr/>
          <p:nvPr userDrawn="1"/>
        </p:nvGrpSpPr>
        <p:grpSpPr>
          <a:xfrm>
            <a:off x="7860561" y="4729766"/>
            <a:ext cx="1283439" cy="390874"/>
            <a:chOff x="9841289" y="4549776"/>
            <a:chExt cx="1887421" cy="573088"/>
          </a:xfrm>
        </p:grpSpPr>
        <p:sp>
          <p:nvSpPr>
            <p:cNvPr id="14" name="Freeform 83"/>
            <p:cNvSpPr>
              <a:spLocks noEditPoints="1"/>
            </p:cNvSpPr>
            <p:nvPr userDrawn="1"/>
          </p:nvSpPr>
          <p:spPr bwMode="auto">
            <a:xfrm>
              <a:off x="9841289" y="4549776"/>
              <a:ext cx="1887416" cy="573088"/>
            </a:xfrm>
            <a:custGeom>
              <a:avLst/>
              <a:gdLst>
                <a:gd name="T0" fmla="*/ 798 w 2898"/>
                <a:gd name="T1" fmla="*/ 1017 h 1082"/>
                <a:gd name="T2" fmla="*/ 801 w 2898"/>
                <a:gd name="T3" fmla="*/ 1017 h 1082"/>
                <a:gd name="T4" fmla="*/ 805 w 2898"/>
                <a:gd name="T5" fmla="*/ 1017 h 1082"/>
                <a:gd name="T6" fmla="*/ 808 w 2898"/>
                <a:gd name="T7" fmla="*/ 1017 h 1082"/>
                <a:gd name="T8" fmla="*/ 812 w 2898"/>
                <a:gd name="T9" fmla="*/ 1017 h 1082"/>
                <a:gd name="T10" fmla="*/ 815 w 2898"/>
                <a:gd name="T11" fmla="*/ 1017 h 1082"/>
                <a:gd name="T12" fmla="*/ 893 w 2898"/>
                <a:gd name="T13" fmla="*/ 1003 h 1082"/>
                <a:gd name="T14" fmla="*/ 1038 w 2898"/>
                <a:gd name="T15" fmla="*/ 864 h 1082"/>
                <a:gd name="T16" fmla="*/ 1381 w 2898"/>
                <a:gd name="T17" fmla="*/ 412 h 1082"/>
                <a:gd name="T18" fmla="*/ 1612 w 2898"/>
                <a:gd name="T19" fmla="*/ 257 h 1082"/>
                <a:gd name="T20" fmla="*/ 2431 w 2898"/>
                <a:gd name="T21" fmla="*/ 135 h 1082"/>
                <a:gd name="T22" fmla="*/ 2595 w 2898"/>
                <a:gd name="T23" fmla="*/ 40 h 1082"/>
                <a:gd name="T24" fmla="*/ 2802 w 2898"/>
                <a:gd name="T25" fmla="*/ 0 h 1082"/>
                <a:gd name="T26" fmla="*/ 2849 w 2898"/>
                <a:gd name="T27" fmla="*/ 40 h 1082"/>
                <a:gd name="T28" fmla="*/ 2608 w 2898"/>
                <a:gd name="T29" fmla="*/ 138 h 1082"/>
                <a:gd name="T30" fmla="*/ 2898 w 2898"/>
                <a:gd name="T31" fmla="*/ 492 h 1082"/>
                <a:gd name="T32" fmla="*/ 2898 w 2898"/>
                <a:gd name="T33" fmla="*/ 511 h 1082"/>
                <a:gd name="T34" fmla="*/ 2898 w 2898"/>
                <a:gd name="T35" fmla="*/ 530 h 1082"/>
                <a:gd name="T36" fmla="*/ 2898 w 2898"/>
                <a:gd name="T37" fmla="*/ 547 h 1082"/>
                <a:gd name="T38" fmla="*/ 2898 w 2898"/>
                <a:gd name="T39" fmla="*/ 567 h 1082"/>
                <a:gd name="T40" fmla="*/ 2898 w 2898"/>
                <a:gd name="T41" fmla="*/ 587 h 1082"/>
                <a:gd name="T42" fmla="*/ 2898 w 2898"/>
                <a:gd name="T43" fmla="*/ 604 h 1082"/>
                <a:gd name="T44" fmla="*/ 2737 w 2898"/>
                <a:gd name="T45" fmla="*/ 665 h 1082"/>
                <a:gd name="T46" fmla="*/ 2405 w 2898"/>
                <a:gd name="T47" fmla="*/ 674 h 1082"/>
                <a:gd name="T48" fmla="*/ 2279 w 2898"/>
                <a:gd name="T49" fmla="*/ 777 h 1082"/>
                <a:gd name="T50" fmla="*/ 2128 w 2898"/>
                <a:gd name="T51" fmla="*/ 935 h 1082"/>
                <a:gd name="T52" fmla="*/ 2010 w 2898"/>
                <a:gd name="T53" fmla="*/ 950 h 1082"/>
                <a:gd name="T54" fmla="*/ 1778 w 2898"/>
                <a:gd name="T55" fmla="*/ 1049 h 1082"/>
                <a:gd name="T56" fmla="*/ 1541 w 2898"/>
                <a:gd name="T57" fmla="*/ 1081 h 1082"/>
                <a:gd name="T58" fmla="*/ 1501 w 2898"/>
                <a:gd name="T59" fmla="*/ 1081 h 1082"/>
                <a:gd name="T60" fmla="*/ 1489 w 2898"/>
                <a:gd name="T61" fmla="*/ 1081 h 1082"/>
                <a:gd name="T62" fmla="*/ 1479 w 2898"/>
                <a:gd name="T63" fmla="*/ 1081 h 1082"/>
                <a:gd name="T64" fmla="*/ 1467 w 2898"/>
                <a:gd name="T65" fmla="*/ 1081 h 1082"/>
                <a:gd name="T66" fmla="*/ 1455 w 2898"/>
                <a:gd name="T67" fmla="*/ 1081 h 1082"/>
                <a:gd name="T68" fmla="*/ 1445 w 2898"/>
                <a:gd name="T69" fmla="*/ 1081 h 1082"/>
                <a:gd name="T70" fmla="*/ 1437 w 2898"/>
                <a:gd name="T71" fmla="*/ 1061 h 1082"/>
                <a:gd name="T72" fmla="*/ 1448 w 2898"/>
                <a:gd name="T73" fmla="*/ 1061 h 1082"/>
                <a:gd name="T74" fmla="*/ 1460 w 2898"/>
                <a:gd name="T75" fmla="*/ 1061 h 1082"/>
                <a:gd name="T76" fmla="*/ 1472 w 2898"/>
                <a:gd name="T77" fmla="*/ 1061 h 1082"/>
                <a:gd name="T78" fmla="*/ 1483 w 2898"/>
                <a:gd name="T79" fmla="*/ 1061 h 1082"/>
                <a:gd name="T80" fmla="*/ 1495 w 2898"/>
                <a:gd name="T81" fmla="*/ 1061 h 1082"/>
                <a:gd name="T82" fmla="*/ 1507 w 2898"/>
                <a:gd name="T83" fmla="*/ 1061 h 1082"/>
                <a:gd name="T84" fmla="*/ 1652 w 2898"/>
                <a:gd name="T85" fmla="*/ 1032 h 1082"/>
                <a:gd name="T86" fmla="*/ 1030 w 2898"/>
                <a:gd name="T87" fmla="*/ 950 h 1082"/>
                <a:gd name="T88" fmla="*/ 889 w 2898"/>
                <a:gd name="T89" fmla="*/ 1028 h 1082"/>
                <a:gd name="T90" fmla="*/ 815 w 2898"/>
                <a:gd name="T91" fmla="*/ 1037 h 1082"/>
                <a:gd name="T92" fmla="*/ 812 w 2898"/>
                <a:gd name="T93" fmla="*/ 1037 h 1082"/>
                <a:gd name="T94" fmla="*/ 808 w 2898"/>
                <a:gd name="T95" fmla="*/ 1037 h 1082"/>
                <a:gd name="T96" fmla="*/ 805 w 2898"/>
                <a:gd name="T97" fmla="*/ 1037 h 1082"/>
                <a:gd name="T98" fmla="*/ 801 w 2898"/>
                <a:gd name="T99" fmla="*/ 1037 h 1082"/>
                <a:gd name="T100" fmla="*/ 798 w 2898"/>
                <a:gd name="T101" fmla="*/ 1037 h 1082"/>
                <a:gd name="T102" fmla="*/ 55 w 2898"/>
                <a:gd name="T103" fmla="*/ 1017 h 1082"/>
                <a:gd name="T104" fmla="*/ 2019 w 2898"/>
                <a:gd name="T105" fmla="*/ 929 h 1082"/>
                <a:gd name="T106" fmla="*/ 2133 w 2898"/>
                <a:gd name="T107" fmla="*/ 907 h 1082"/>
                <a:gd name="T108" fmla="*/ 2272 w 2898"/>
                <a:gd name="T109" fmla="*/ 747 h 1082"/>
                <a:gd name="T110" fmla="*/ 1853 w 2898"/>
                <a:gd name="T111" fmla="*/ 873 h 1082"/>
                <a:gd name="T112" fmla="*/ 1421 w 2898"/>
                <a:gd name="T113" fmla="*/ 617 h 1082"/>
                <a:gd name="T114" fmla="*/ 1268 w 2898"/>
                <a:gd name="T115" fmla="*/ 672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98" h="1082">
                  <a:moveTo>
                    <a:pt x="55" y="1017"/>
                  </a:moveTo>
                  <a:lnTo>
                    <a:pt x="796" y="1017"/>
                  </a:lnTo>
                  <a:lnTo>
                    <a:pt x="796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7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8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799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0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1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3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4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5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6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7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08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0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1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2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3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4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5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17" y="1017"/>
                  </a:lnTo>
                  <a:lnTo>
                    <a:pt x="836" y="1017"/>
                  </a:lnTo>
                  <a:lnTo>
                    <a:pt x="855" y="1014"/>
                  </a:lnTo>
                  <a:lnTo>
                    <a:pt x="874" y="1010"/>
                  </a:lnTo>
                  <a:lnTo>
                    <a:pt x="893" y="1003"/>
                  </a:lnTo>
                  <a:lnTo>
                    <a:pt x="911" y="993"/>
                  </a:lnTo>
                  <a:lnTo>
                    <a:pt x="930" y="981"/>
                  </a:lnTo>
                  <a:lnTo>
                    <a:pt x="949" y="966"/>
                  </a:lnTo>
                  <a:lnTo>
                    <a:pt x="968" y="950"/>
                  </a:lnTo>
                  <a:lnTo>
                    <a:pt x="113" y="950"/>
                  </a:lnTo>
                  <a:lnTo>
                    <a:pt x="131" y="929"/>
                  </a:lnTo>
                  <a:lnTo>
                    <a:pt x="987" y="929"/>
                  </a:lnTo>
                  <a:lnTo>
                    <a:pt x="993" y="923"/>
                  </a:lnTo>
                  <a:lnTo>
                    <a:pt x="998" y="917"/>
                  </a:lnTo>
                  <a:lnTo>
                    <a:pt x="1038" y="864"/>
                  </a:lnTo>
                  <a:lnTo>
                    <a:pt x="1077" y="813"/>
                  </a:lnTo>
                  <a:lnTo>
                    <a:pt x="1117" y="760"/>
                  </a:lnTo>
                  <a:lnTo>
                    <a:pt x="1157" y="708"/>
                  </a:lnTo>
                  <a:lnTo>
                    <a:pt x="1197" y="655"/>
                  </a:lnTo>
                  <a:lnTo>
                    <a:pt x="1238" y="602"/>
                  </a:lnTo>
                  <a:lnTo>
                    <a:pt x="1278" y="549"/>
                  </a:lnTo>
                  <a:lnTo>
                    <a:pt x="1317" y="497"/>
                  </a:lnTo>
                  <a:lnTo>
                    <a:pt x="1338" y="466"/>
                  </a:lnTo>
                  <a:lnTo>
                    <a:pt x="1359" y="438"/>
                  </a:lnTo>
                  <a:lnTo>
                    <a:pt x="1381" y="412"/>
                  </a:lnTo>
                  <a:lnTo>
                    <a:pt x="1402" y="388"/>
                  </a:lnTo>
                  <a:lnTo>
                    <a:pt x="1424" y="366"/>
                  </a:lnTo>
                  <a:lnTo>
                    <a:pt x="1446" y="346"/>
                  </a:lnTo>
                  <a:lnTo>
                    <a:pt x="1469" y="327"/>
                  </a:lnTo>
                  <a:lnTo>
                    <a:pt x="1492" y="311"/>
                  </a:lnTo>
                  <a:lnTo>
                    <a:pt x="1515" y="295"/>
                  </a:lnTo>
                  <a:lnTo>
                    <a:pt x="1538" y="282"/>
                  </a:lnTo>
                  <a:lnTo>
                    <a:pt x="1563" y="272"/>
                  </a:lnTo>
                  <a:lnTo>
                    <a:pt x="1588" y="264"/>
                  </a:lnTo>
                  <a:lnTo>
                    <a:pt x="1612" y="257"/>
                  </a:lnTo>
                  <a:lnTo>
                    <a:pt x="1637" y="252"/>
                  </a:lnTo>
                  <a:lnTo>
                    <a:pt x="1662" y="249"/>
                  </a:lnTo>
                  <a:lnTo>
                    <a:pt x="1688" y="249"/>
                  </a:lnTo>
                  <a:lnTo>
                    <a:pt x="2328" y="249"/>
                  </a:lnTo>
                  <a:lnTo>
                    <a:pt x="2352" y="217"/>
                  </a:lnTo>
                  <a:lnTo>
                    <a:pt x="2377" y="188"/>
                  </a:lnTo>
                  <a:lnTo>
                    <a:pt x="2390" y="174"/>
                  </a:lnTo>
                  <a:lnTo>
                    <a:pt x="2403" y="161"/>
                  </a:lnTo>
                  <a:lnTo>
                    <a:pt x="2417" y="148"/>
                  </a:lnTo>
                  <a:lnTo>
                    <a:pt x="2431" y="135"/>
                  </a:lnTo>
                  <a:lnTo>
                    <a:pt x="2446" y="123"/>
                  </a:lnTo>
                  <a:lnTo>
                    <a:pt x="2462" y="113"/>
                  </a:lnTo>
                  <a:lnTo>
                    <a:pt x="2477" y="101"/>
                  </a:lnTo>
                  <a:lnTo>
                    <a:pt x="2492" y="92"/>
                  </a:lnTo>
                  <a:lnTo>
                    <a:pt x="2508" y="81"/>
                  </a:lnTo>
                  <a:lnTo>
                    <a:pt x="2525" y="72"/>
                  </a:lnTo>
                  <a:lnTo>
                    <a:pt x="2541" y="64"/>
                  </a:lnTo>
                  <a:lnTo>
                    <a:pt x="2559" y="55"/>
                  </a:lnTo>
                  <a:lnTo>
                    <a:pt x="2577" y="47"/>
                  </a:lnTo>
                  <a:lnTo>
                    <a:pt x="2595" y="40"/>
                  </a:lnTo>
                  <a:lnTo>
                    <a:pt x="2614" y="34"/>
                  </a:lnTo>
                  <a:lnTo>
                    <a:pt x="2632" y="28"/>
                  </a:lnTo>
                  <a:lnTo>
                    <a:pt x="2652" y="23"/>
                  </a:lnTo>
                  <a:lnTo>
                    <a:pt x="2672" y="18"/>
                  </a:lnTo>
                  <a:lnTo>
                    <a:pt x="2693" y="13"/>
                  </a:lnTo>
                  <a:lnTo>
                    <a:pt x="2713" y="10"/>
                  </a:lnTo>
                  <a:lnTo>
                    <a:pt x="2735" y="6"/>
                  </a:lnTo>
                  <a:lnTo>
                    <a:pt x="2756" y="4"/>
                  </a:lnTo>
                  <a:lnTo>
                    <a:pt x="2779" y="3"/>
                  </a:lnTo>
                  <a:lnTo>
                    <a:pt x="2802" y="0"/>
                  </a:lnTo>
                  <a:lnTo>
                    <a:pt x="2825" y="0"/>
                  </a:lnTo>
                  <a:lnTo>
                    <a:pt x="2849" y="0"/>
                  </a:lnTo>
                  <a:lnTo>
                    <a:pt x="2873" y="0"/>
                  </a:lnTo>
                  <a:lnTo>
                    <a:pt x="2898" y="1"/>
                  </a:lnTo>
                  <a:lnTo>
                    <a:pt x="2898" y="11"/>
                  </a:lnTo>
                  <a:lnTo>
                    <a:pt x="2898" y="20"/>
                  </a:lnTo>
                  <a:lnTo>
                    <a:pt x="2898" y="30"/>
                  </a:lnTo>
                  <a:lnTo>
                    <a:pt x="2898" y="39"/>
                  </a:lnTo>
                  <a:lnTo>
                    <a:pt x="2873" y="39"/>
                  </a:lnTo>
                  <a:lnTo>
                    <a:pt x="2849" y="40"/>
                  </a:lnTo>
                  <a:lnTo>
                    <a:pt x="2824" y="42"/>
                  </a:lnTo>
                  <a:lnTo>
                    <a:pt x="2800" y="46"/>
                  </a:lnTo>
                  <a:lnTo>
                    <a:pt x="2775" y="52"/>
                  </a:lnTo>
                  <a:lnTo>
                    <a:pt x="2751" y="59"/>
                  </a:lnTo>
                  <a:lnTo>
                    <a:pt x="2727" y="67"/>
                  </a:lnTo>
                  <a:lnTo>
                    <a:pt x="2703" y="78"/>
                  </a:lnTo>
                  <a:lnTo>
                    <a:pt x="2679" y="89"/>
                  </a:lnTo>
                  <a:lnTo>
                    <a:pt x="2655" y="103"/>
                  </a:lnTo>
                  <a:lnTo>
                    <a:pt x="2631" y="120"/>
                  </a:lnTo>
                  <a:lnTo>
                    <a:pt x="2608" y="138"/>
                  </a:lnTo>
                  <a:lnTo>
                    <a:pt x="2584" y="158"/>
                  </a:lnTo>
                  <a:lnTo>
                    <a:pt x="2561" y="181"/>
                  </a:lnTo>
                  <a:lnTo>
                    <a:pt x="2538" y="206"/>
                  </a:lnTo>
                  <a:lnTo>
                    <a:pt x="2514" y="233"/>
                  </a:lnTo>
                  <a:lnTo>
                    <a:pt x="2504" y="249"/>
                  </a:lnTo>
                  <a:lnTo>
                    <a:pt x="2898" y="249"/>
                  </a:lnTo>
                  <a:lnTo>
                    <a:pt x="2898" y="486"/>
                  </a:lnTo>
                  <a:lnTo>
                    <a:pt x="2898" y="489"/>
                  </a:lnTo>
                  <a:lnTo>
                    <a:pt x="2898" y="490"/>
                  </a:lnTo>
                  <a:lnTo>
                    <a:pt x="2898" y="492"/>
                  </a:lnTo>
                  <a:lnTo>
                    <a:pt x="2898" y="494"/>
                  </a:lnTo>
                  <a:lnTo>
                    <a:pt x="2898" y="496"/>
                  </a:lnTo>
                  <a:lnTo>
                    <a:pt x="2898" y="497"/>
                  </a:lnTo>
                  <a:lnTo>
                    <a:pt x="2898" y="500"/>
                  </a:lnTo>
                  <a:lnTo>
                    <a:pt x="2898" y="500"/>
                  </a:lnTo>
                  <a:lnTo>
                    <a:pt x="2898" y="503"/>
                  </a:lnTo>
                  <a:lnTo>
                    <a:pt x="2898" y="506"/>
                  </a:lnTo>
                  <a:lnTo>
                    <a:pt x="2898" y="506"/>
                  </a:lnTo>
                  <a:lnTo>
                    <a:pt x="2898" y="508"/>
                  </a:lnTo>
                  <a:lnTo>
                    <a:pt x="2898" y="511"/>
                  </a:lnTo>
                  <a:lnTo>
                    <a:pt x="2898" y="512"/>
                  </a:lnTo>
                  <a:lnTo>
                    <a:pt x="2898" y="514"/>
                  </a:lnTo>
                  <a:lnTo>
                    <a:pt x="2898" y="517"/>
                  </a:lnTo>
                  <a:lnTo>
                    <a:pt x="2898" y="518"/>
                  </a:lnTo>
                  <a:lnTo>
                    <a:pt x="2898" y="520"/>
                  </a:lnTo>
                  <a:lnTo>
                    <a:pt x="2898" y="523"/>
                  </a:lnTo>
                  <a:lnTo>
                    <a:pt x="2898" y="524"/>
                  </a:lnTo>
                  <a:lnTo>
                    <a:pt x="2898" y="525"/>
                  </a:lnTo>
                  <a:lnTo>
                    <a:pt x="2898" y="528"/>
                  </a:lnTo>
                  <a:lnTo>
                    <a:pt x="2898" y="530"/>
                  </a:lnTo>
                  <a:lnTo>
                    <a:pt x="2898" y="531"/>
                  </a:lnTo>
                  <a:lnTo>
                    <a:pt x="2898" y="533"/>
                  </a:lnTo>
                  <a:lnTo>
                    <a:pt x="2898" y="535"/>
                  </a:lnTo>
                  <a:lnTo>
                    <a:pt x="2898" y="537"/>
                  </a:lnTo>
                  <a:lnTo>
                    <a:pt x="2898" y="539"/>
                  </a:lnTo>
                  <a:lnTo>
                    <a:pt x="2898" y="541"/>
                  </a:lnTo>
                  <a:lnTo>
                    <a:pt x="2898" y="542"/>
                  </a:lnTo>
                  <a:lnTo>
                    <a:pt x="2898" y="545"/>
                  </a:lnTo>
                  <a:lnTo>
                    <a:pt x="2898" y="547"/>
                  </a:lnTo>
                  <a:lnTo>
                    <a:pt x="2898" y="547"/>
                  </a:lnTo>
                  <a:lnTo>
                    <a:pt x="2898" y="551"/>
                  </a:lnTo>
                  <a:lnTo>
                    <a:pt x="2898" y="553"/>
                  </a:lnTo>
                  <a:lnTo>
                    <a:pt x="2898" y="553"/>
                  </a:lnTo>
                  <a:lnTo>
                    <a:pt x="2898" y="556"/>
                  </a:lnTo>
                  <a:lnTo>
                    <a:pt x="2898" y="558"/>
                  </a:lnTo>
                  <a:lnTo>
                    <a:pt x="2898" y="559"/>
                  </a:lnTo>
                  <a:lnTo>
                    <a:pt x="2898" y="561"/>
                  </a:lnTo>
                  <a:lnTo>
                    <a:pt x="2898" y="563"/>
                  </a:lnTo>
                  <a:lnTo>
                    <a:pt x="2898" y="565"/>
                  </a:lnTo>
                  <a:lnTo>
                    <a:pt x="2898" y="567"/>
                  </a:lnTo>
                  <a:lnTo>
                    <a:pt x="2898" y="569"/>
                  </a:lnTo>
                  <a:lnTo>
                    <a:pt x="2898" y="571"/>
                  </a:lnTo>
                  <a:lnTo>
                    <a:pt x="2898" y="573"/>
                  </a:lnTo>
                  <a:lnTo>
                    <a:pt x="2898" y="575"/>
                  </a:lnTo>
                  <a:lnTo>
                    <a:pt x="2898" y="575"/>
                  </a:lnTo>
                  <a:lnTo>
                    <a:pt x="2898" y="579"/>
                  </a:lnTo>
                  <a:lnTo>
                    <a:pt x="2898" y="581"/>
                  </a:lnTo>
                  <a:lnTo>
                    <a:pt x="2898" y="581"/>
                  </a:lnTo>
                  <a:lnTo>
                    <a:pt x="2898" y="585"/>
                  </a:lnTo>
                  <a:lnTo>
                    <a:pt x="2898" y="587"/>
                  </a:lnTo>
                  <a:lnTo>
                    <a:pt x="2898" y="587"/>
                  </a:lnTo>
                  <a:lnTo>
                    <a:pt x="2898" y="589"/>
                  </a:lnTo>
                  <a:lnTo>
                    <a:pt x="2898" y="593"/>
                  </a:lnTo>
                  <a:lnTo>
                    <a:pt x="2898" y="593"/>
                  </a:lnTo>
                  <a:lnTo>
                    <a:pt x="2898" y="595"/>
                  </a:lnTo>
                  <a:lnTo>
                    <a:pt x="2898" y="599"/>
                  </a:lnTo>
                  <a:lnTo>
                    <a:pt x="2898" y="599"/>
                  </a:lnTo>
                  <a:lnTo>
                    <a:pt x="2898" y="601"/>
                  </a:lnTo>
                  <a:lnTo>
                    <a:pt x="2898" y="603"/>
                  </a:lnTo>
                  <a:lnTo>
                    <a:pt x="2898" y="604"/>
                  </a:lnTo>
                  <a:lnTo>
                    <a:pt x="2898" y="607"/>
                  </a:lnTo>
                  <a:lnTo>
                    <a:pt x="2898" y="609"/>
                  </a:lnTo>
                  <a:lnTo>
                    <a:pt x="2898" y="610"/>
                  </a:lnTo>
                  <a:lnTo>
                    <a:pt x="2898" y="613"/>
                  </a:lnTo>
                  <a:lnTo>
                    <a:pt x="2898" y="615"/>
                  </a:lnTo>
                  <a:lnTo>
                    <a:pt x="2898" y="616"/>
                  </a:lnTo>
                  <a:lnTo>
                    <a:pt x="2898" y="665"/>
                  </a:lnTo>
                  <a:lnTo>
                    <a:pt x="2844" y="665"/>
                  </a:lnTo>
                  <a:lnTo>
                    <a:pt x="2790" y="665"/>
                  </a:lnTo>
                  <a:lnTo>
                    <a:pt x="2737" y="665"/>
                  </a:lnTo>
                  <a:lnTo>
                    <a:pt x="2683" y="665"/>
                  </a:lnTo>
                  <a:lnTo>
                    <a:pt x="2629" y="665"/>
                  </a:lnTo>
                  <a:lnTo>
                    <a:pt x="2575" y="665"/>
                  </a:lnTo>
                  <a:lnTo>
                    <a:pt x="2521" y="665"/>
                  </a:lnTo>
                  <a:lnTo>
                    <a:pt x="2467" y="665"/>
                  </a:lnTo>
                  <a:lnTo>
                    <a:pt x="2453" y="665"/>
                  </a:lnTo>
                  <a:lnTo>
                    <a:pt x="2441" y="667"/>
                  </a:lnTo>
                  <a:lnTo>
                    <a:pt x="2429" y="669"/>
                  </a:lnTo>
                  <a:lnTo>
                    <a:pt x="2416" y="671"/>
                  </a:lnTo>
                  <a:lnTo>
                    <a:pt x="2405" y="674"/>
                  </a:lnTo>
                  <a:lnTo>
                    <a:pt x="2394" y="677"/>
                  </a:lnTo>
                  <a:lnTo>
                    <a:pt x="2383" y="682"/>
                  </a:lnTo>
                  <a:lnTo>
                    <a:pt x="2374" y="686"/>
                  </a:lnTo>
                  <a:lnTo>
                    <a:pt x="2363" y="692"/>
                  </a:lnTo>
                  <a:lnTo>
                    <a:pt x="2354" y="698"/>
                  </a:lnTo>
                  <a:lnTo>
                    <a:pt x="2346" y="704"/>
                  </a:lnTo>
                  <a:lnTo>
                    <a:pt x="2336" y="711"/>
                  </a:lnTo>
                  <a:lnTo>
                    <a:pt x="2320" y="726"/>
                  </a:lnTo>
                  <a:lnTo>
                    <a:pt x="2306" y="744"/>
                  </a:lnTo>
                  <a:lnTo>
                    <a:pt x="2279" y="777"/>
                  </a:lnTo>
                  <a:lnTo>
                    <a:pt x="2253" y="811"/>
                  </a:lnTo>
                  <a:lnTo>
                    <a:pt x="2226" y="844"/>
                  </a:lnTo>
                  <a:lnTo>
                    <a:pt x="2201" y="878"/>
                  </a:lnTo>
                  <a:lnTo>
                    <a:pt x="2188" y="894"/>
                  </a:lnTo>
                  <a:lnTo>
                    <a:pt x="2173" y="908"/>
                  </a:lnTo>
                  <a:lnTo>
                    <a:pt x="2164" y="914"/>
                  </a:lnTo>
                  <a:lnTo>
                    <a:pt x="2156" y="919"/>
                  </a:lnTo>
                  <a:lnTo>
                    <a:pt x="2147" y="925"/>
                  </a:lnTo>
                  <a:lnTo>
                    <a:pt x="2138" y="930"/>
                  </a:lnTo>
                  <a:lnTo>
                    <a:pt x="2128" y="935"/>
                  </a:lnTo>
                  <a:lnTo>
                    <a:pt x="2118" y="938"/>
                  </a:lnTo>
                  <a:lnTo>
                    <a:pt x="2106" y="942"/>
                  </a:lnTo>
                  <a:lnTo>
                    <a:pt x="2094" y="945"/>
                  </a:lnTo>
                  <a:lnTo>
                    <a:pt x="2081" y="946"/>
                  </a:lnTo>
                  <a:lnTo>
                    <a:pt x="2068" y="949"/>
                  </a:lnTo>
                  <a:lnTo>
                    <a:pt x="2054" y="950"/>
                  </a:lnTo>
                  <a:lnTo>
                    <a:pt x="2039" y="950"/>
                  </a:lnTo>
                  <a:lnTo>
                    <a:pt x="2030" y="950"/>
                  </a:lnTo>
                  <a:lnTo>
                    <a:pt x="2019" y="950"/>
                  </a:lnTo>
                  <a:lnTo>
                    <a:pt x="2010" y="950"/>
                  </a:lnTo>
                  <a:lnTo>
                    <a:pt x="2001" y="950"/>
                  </a:lnTo>
                  <a:lnTo>
                    <a:pt x="1937" y="950"/>
                  </a:lnTo>
                  <a:lnTo>
                    <a:pt x="1919" y="965"/>
                  </a:lnTo>
                  <a:lnTo>
                    <a:pt x="1901" y="980"/>
                  </a:lnTo>
                  <a:lnTo>
                    <a:pt x="1882" y="993"/>
                  </a:lnTo>
                  <a:lnTo>
                    <a:pt x="1863" y="1006"/>
                  </a:lnTo>
                  <a:lnTo>
                    <a:pt x="1843" y="1019"/>
                  </a:lnTo>
                  <a:lnTo>
                    <a:pt x="1822" y="1029"/>
                  </a:lnTo>
                  <a:lnTo>
                    <a:pt x="1801" y="1040"/>
                  </a:lnTo>
                  <a:lnTo>
                    <a:pt x="1778" y="1049"/>
                  </a:lnTo>
                  <a:lnTo>
                    <a:pt x="1755" y="1058"/>
                  </a:lnTo>
                  <a:lnTo>
                    <a:pt x="1732" y="1065"/>
                  </a:lnTo>
                  <a:lnTo>
                    <a:pt x="1707" y="1070"/>
                  </a:lnTo>
                  <a:lnTo>
                    <a:pt x="1681" y="1075"/>
                  </a:lnTo>
                  <a:lnTo>
                    <a:pt x="1655" y="1079"/>
                  </a:lnTo>
                  <a:lnTo>
                    <a:pt x="1629" y="1081"/>
                  </a:lnTo>
                  <a:lnTo>
                    <a:pt x="1600" y="1082"/>
                  </a:lnTo>
                  <a:lnTo>
                    <a:pt x="1571" y="1081"/>
                  </a:lnTo>
                  <a:lnTo>
                    <a:pt x="1556" y="1081"/>
                  </a:lnTo>
                  <a:lnTo>
                    <a:pt x="1541" y="1081"/>
                  </a:lnTo>
                  <a:lnTo>
                    <a:pt x="1526" y="1081"/>
                  </a:lnTo>
                  <a:lnTo>
                    <a:pt x="1510" y="1081"/>
                  </a:lnTo>
                  <a:lnTo>
                    <a:pt x="1509" y="1081"/>
                  </a:lnTo>
                  <a:lnTo>
                    <a:pt x="1508" y="1081"/>
                  </a:lnTo>
                  <a:lnTo>
                    <a:pt x="1507" y="1081"/>
                  </a:lnTo>
                  <a:lnTo>
                    <a:pt x="1506" y="1081"/>
                  </a:lnTo>
                  <a:lnTo>
                    <a:pt x="1505" y="1081"/>
                  </a:lnTo>
                  <a:lnTo>
                    <a:pt x="1503" y="1081"/>
                  </a:lnTo>
                  <a:lnTo>
                    <a:pt x="1502" y="1081"/>
                  </a:lnTo>
                  <a:lnTo>
                    <a:pt x="1501" y="1081"/>
                  </a:lnTo>
                  <a:lnTo>
                    <a:pt x="1500" y="1081"/>
                  </a:lnTo>
                  <a:lnTo>
                    <a:pt x="1499" y="1081"/>
                  </a:lnTo>
                  <a:lnTo>
                    <a:pt x="1498" y="1081"/>
                  </a:lnTo>
                  <a:lnTo>
                    <a:pt x="1496" y="1081"/>
                  </a:lnTo>
                  <a:lnTo>
                    <a:pt x="1495" y="1081"/>
                  </a:lnTo>
                  <a:lnTo>
                    <a:pt x="1494" y="1081"/>
                  </a:lnTo>
                  <a:lnTo>
                    <a:pt x="1493" y="1081"/>
                  </a:lnTo>
                  <a:lnTo>
                    <a:pt x="1492" y="1081"/>
                  </a:lnTo>
                  <a:lnTo>
                    <a:pt x="1490" y="1081"/>
                  </a:lnTo>
                  <a:lnTo>
                    <a:pt x="1489" y="1081"/>
                  </a:lnTo>
                  <a:lnTo>
                    <a:pt x="1488" y="1081"/>
                  </a:lnTo>
                  <a:lnTo>
                    <a:pt x="1487" y="1081"/>
                  </a:lnTo>
                  <a:lnTo>
                    <a:pt x="1487" y="1081"/>
                  </a:lnTo>
                  <a:lnTo>
                    <a:pt x="1486" y="1081"/>
                  </a:lnTo>
                  <a:lnTo>
                    <a:pt x="1485" y="1081"/>
                  </a:lnTo>
                  <a:lnTo>
                    <a:pt x="1483" y="1081"/>
                  </a:lnTo>
                  <a:lnTo>
                    <a:pt x="1482" y="1081"/>
                  </a:lnTo>
                  <a:lnTo>
                    <a:pt x="1481" y="1081"/>
                  </a:lnTo>
                  <a:lnTo>
                    <a:pt x="1480" y="1081"/>
                  </a:lnTo>
                  <a:lnTo>
                    <a:pt x="1479" y="1081"/>
                  </a:lnTo>
                  <a:lnTo>
                    <a:pt x="1478" y="1081"/>
                  </a:lnTo>
                  <a:lnTo>
                    <a:pt x="1476" y="1081"/>
                  </a:lnTo>
                  <a:lnTo>
                    <a:pt x="1475" y="1081"/>
                  </a:lnTo>
                  <a:lnTo>
                    <a:pt x="1474" y="1081"/>
                  </a:lnTo>
                  <a:lnTo>
                    <a:pt x="1473" y="1081"/>
                  </a:lnTo>
                  <a:lnTo>
                    <a:pt x="1472" y="1081"/>
                  </a:lnTo>
                  <a:lnTo>
                    <a:pt x="1471" y="1081"/>
                  </a:lnTo>
                  <a:lnTo>
                    <a:pt x="1469" y="1081"/>
                  </a:lnTo>
                  <a:lnTo>
                    <a:pt x="1468" y="1081"/>
                  </a:lnTo>
                  <a:lnTo>
                    <a:pt x="1467" y="1081"/>
                  </a:lnTo>
                  <a:lnTo>
                    <a:pt x="1466" y="1081"/>
                  </a:lnTo>
                  <a:lnTo>
                    <a:pt x="1465" y="1081"/>
                  </a:lnTo>
                  <a:lnTo>
                    <a:pt x="1464" y="1081"/>
                  </a:lnTo>
                  <a:lnTo>
                    <a:pt x="1462" y="1081"/>
                  </a:lnTo>
                  <a:lnTo>
                    <a:pt x="1461" y="1081"/>
                  </a:lnTo>
                  <a:lnTo>
                    <a:pt x="1460" y="1081"/>
                  </a:lnTo>
                  <a:lnTo>
                    <a:pt x="1459" y="1081"/>
                  </a:lnTo>
                  <a:lnTo>
                    <a:pt x="1458" y="1081"/>
                  </a:lnTo>
                  <a:lnTo>
                    <a:pt x="1457" y="1081"/>
                  </a:lnTo>
                  <a:lnTo>
                    <a:pt x="1455" y="1081"/>
                  </a:lnTo>
                  <a:lnTo>
                    <a:pt x="1454" y="1081"/>
                  </a:lnTo>
                  <a:lnTo>
                    <a:pt x="1453" y="1081"/>
                  </a:lnTo>
                  <a:lnTo>
                    <a:pt x="1453" y="1081"/>
                  </a:lnTo>
                  <a:lnTo>
                    <a:pt x="1452" y="1081"/>
                  </a:lnTo>
                  <a:lnTo>
                    <a:pt x="1451" y="1081"/>
                  </a:lnTo>
                  <a:lnTo>
                    <a:pt x="1450" y="1081"/>
                  </a:lnTo>
                  <a:lnTo>
                    <a:pt x="1448" y="1081"/>
                  </a:lnTo>
                  <a:lnTo>
                    <a:pt x="1447" y="1081"/>
                  </a:lnTo>
                  <a:lnTo>
                    <a:pt x="1446" y="1081"/>
                  </a:lnTo>
                  <a:lnTo>
                    <a:pt x="1445" y="1081"/>
                  </a:lnTo>
                  <a:lnTo>
                    <a:pt x="1444" y="1081"/>
                  </a:lnTo>
                  <a:lnTo>
                    <a:pt x="1443" y="1081"/>
                  </a:lnTo>
                  <a:lnTo>
                    <a:pt x="1441" y="1081"/>
                  </a:lnTo>
                  <a:lnTo>
                    <a:pt x="1440" y="1081"/>
                  </a:lnTo>
                  <a:lnTo>
                    <a:pt x="1439" y="1081"/>
                  </a:lnTo>
                  <a:lnTo>
                    <a:pt x="1438" y="1081"/>
                  </a:lnTo>
                  <a:lnTo>
                    <a:pt x="0" y="1081"/>
                  </a:lnTo>
                  <a:lnTo>
                    <a:pt x="17" y="1061"/>
                  </a:lnTo>
                  <a:lnTo>
                    <a:pt x="1436" y="1061"/>
                  </a:lnTo>
                  <a:lnTo>
                    <a:pt x="1437" y="1061"/>
                  </a:lnTo>
                  <a:lnTo>
                    <a:pt x="1438" y="1061"/>
                  </a:lnTo>
                  <a:lnTo>
                    <a:pt x="1439" y="1061"/>
                  </a:lnTo>
                  <a:lnTo>
                    <a:pt x="1440" y="1061"/>
                  </a:lnTo>
                  <a:lnTo>
                    <a:pt x="1441" y="1061"/>
                  </a:lnTo>
                  <a:lnTo>
                    <a:pt x="1443" y="1061"/>
                  </a:lnTo>
                  <a:lnTo>
                    <a:pt x="1444" y="1061"/>
                  </a:lnTo>
                  <a:lnTo>
                    <a:pt x="1445" y="1061"/>
                  </a:lnTo>
                  <a:lnTo>
                    <a:pt x="1446" y="1061"/>
                  </a:lnTo>
                  <a:lnTo>
                    <a:pt x="1447" y="1061"/>
                  </a:lnTo>
                  <a:lnTo>
                    <a:pt x="1448" y="1061"/>
                  </a:lnTo>
                  <a:lnTo>
                    <a:pt x="1450" y="1061"/>
                  </a:lnTo>
                  <a:lnTo>
                    <a:pt x="1451" y="1061"/>
                  </a:lnTo>
                  <a:lnTo>
                    <a:pt x="1452" y="1061"/>
                  </a:lnTo>
                  <a:lnTo>
                    <a:pt x="1453" y="1061"/>
                  </a:lnTo>
                  <a:lnTo>
                    <a:pt x="1454" y="1061"/>
                  </a:lnTo>
                  <a:lnTo>
                    <a:pt x="1455" y="1061"/>
                  </a:lnTo>
                  <a:lnTo>
                    <a:pt x="1457" y="1061"/>
                  </a:lnTo>
                  <a:lnTo>
                    <a:pt x="1458" y="1061"/>
                  </a:lnTo>
                  <a:lnTo>
                    <a:pt x="1459" y="1061"/>
                  </a:lnTo>
                  <a:lnTo>
                    <a:pt x="1460" y="1061"/>
                  </a:lnTo>
                  <a:lnTo>
                    <a:pt x="1461" y="1061"/>
                  </a:lnTo>
                  <a:lnTo>
                    <a:pt x="1462" y="1061"/>
                  </a:lnTo>
                  <a:lnTo>
                    <a:pt x="1464" y="1061"/>
                  </a:lnTo>
                  <a:lnTo>
                    <a:pt x="1465" y="1061"/>
                  </a:lnTo>
                  <a:lnTo>
                    <a:pt x="1466" y="1061"/>
                  </a:lnTo>
                  <a:lnTo>
                    <a:pt x="1467" y="1061"/>
                  </a:lnTo>
                  <a:lnTo>
                    <a:pt x="1468" y="1061"/>
                  </a:lnTo>
                  <a:lnTo>
                    <a:pt x="1469" y="1061"/>
                  </a:lnTo>
                  <a:lnTo>
                    <a:pt x="1471" y="1061"/>
                  </a:lnTo>
                  <a:lnTo>
                    <a:pt x="1472" y="1061"/>
                  </a:lnTo>
                  <a:lnTo>
                    <a:pt x="1473" y="1061"/>
                  </a:lnTo>
                  <a:lnTo>
                    <a:pt x="1474" y="1061"/>
                  </a:lnTo>
                  <a:lnTo>
                    <a:pt x="1475" y="1061"/>
                  </a:lnTo>
                  <a:lnTo>
                    <a:pt x="1476" y="1061"/>
                  </a:lnTo>
                  <a:lnTo>
                    <a:pt x="1478" y="1061"/>
                  </a:lnTo>
                  <a:lnTo>
                    <a:pt x="1479" y="1061"/>
                  </a:lnTo>
                  <a:lnTo>
                    <a:pt x="1480" y="1061"/>
                  </a:lnTo>
                  <a:lnTo>
                    <a:pt x="1481" y="1061"/>
                  </a:lnTo>
                  <a:lnTo>
                    <a:pt x="1482" y="1061"/>
                  </a:lnTo>
                  <a:lnTo>
                    <a:pt x="1483" y="1061"/>
                  </a:lnTo>
                  <a:lnTo>
                    <a:pt x="1485" y="1061"/>
                  </a:lnTo>
                  <a:lnTo>
                    <a:pt x="1486" y="1061"/>
                  </a:lnTo>
                  <a:lnTo>
                    <a:pt x="1487" y="1061"/>
                  </a:lnTo>
                  <a:lnTo>
                    <a:pt x="1488" y="1061"/>
                  </a:lnTo>
                  <a:lnTo>
                    <a:pt x="1489" y="1061"/>
                  </a:lnTo>
                  <a:lnTo>
                    <a:pt x="1490" y="1061"/>
                  </a:lnTo>
                  <a:lnTo>
                    <a:pt x="1492" y="1061"/>
                  </a:lnTo>
                  <a:lnTo>
                    <a:pt x="1493" y="1061"/>
                  </a:lnTo>
                  <a:lnTo>
                    <a:pt x="1494" y="1061"/>
                  </a:lnTo>
                  <a:lnTo>
                    <a:pt x="1495" y="1061"/>
                  </a:lnTo>
                  <a:lnTo>
                    <a:pt x="1496" y="1061"/>
                  </a:lnTo>
                  <a:lnTo>
                    <a:pt x="1498" y="1061"/>
                  </a:lnTo>
                  <a:lnTo>
                    <a:pt x="1499" y="1061"/>
                  </a:lnTo>
                  <a:lnTo>
                    <a:pt x="1500" y="1061"/>
                  </a:lnTo>
                  <a:lnTo>
                    <a:pt x="1501" y="1061"/>
                  </a:lnTo>
                  <a:lnTo>
                    <a:pt x="1502" y="1061"/>
                  </a:lnTo>
                  <a:lnTo>
                    <a:pt x="1503" y="1061"/>
                  </a:lnTo>
                  <a:lnTo>
                    <a:pt x="1505" y="1061"/>
                  </a:lnTo>
                  <a:lnTo>
                    <a:pt x="1506" y="1061"/>
                  </a:lnTo>
                  <a:lnTo>
                    <a:pt x="1507" y="1061"/>
                  </a:lnTo>
                  <a:lnTo>
                    <a:pt x="1508" y="1061"/>
                  </a:lnTo>
                  <a:lnTo>
                    <a:pt x="1509" y="1061"/>
                  </a:lnTo>
                  <a:lnTo>
                    <a:pt x="1510" y="1061"/>
                  </a:lnTo>
                  <a:lnTo>
                    <a:pt x="1533" y="1059"/>
                  </a:lnTo>
                  <a:lnTo>
                    <a:pt x="1554" y="1056"/>
                  </a:lnTo>
                  <a:lnTo>
                    <a:pt x="1575" y="1053"/>
                  </a:lnTo>
                  <a:lnTo>
                    <a:pt x="1595" y="1048"/>
                  </a:lnTo>
                  <a:lnTo>
                    <a:pt x="1615" y="1044"/>
                  </a:lnTo>
                  <a:lnTo>
                    <a:pt x="1633" y="1038"/>
                  </a:lnTo>
                  <a:lnTo>
                    <a:pt x="1652" y="1032"/>
                  </a:lnTo>
                  <a:lnTo>
                    <a:pt x="1670" y="1025"/>
                  </a:lnTo>
                  <a:lnTo>
                    <a:pt x="1686" y="1018"/>
                  </a:lnTo>
                  <a:lnTo>
                    <a:pt x="1702" y="1010"/>
                  </a:lnTo>
                  <a:lnTo>
                    <a:pt x="1719" y="1001"/>
                  </a:lnTo>
                  <a:lnTo>
                    <a:pt x="1733" y="992"/>
                  </a:lnTo>
                  <a:lnTo>
                    <a:pt x="1748" y="983"/>
                  </a:lnTo>
                  <a:lnTo>
                    <a:pt x="1762" y="972"/>
                  </a:lnTo>
                  <a:lnTo>
                    <a:pt x="1775" y="960"/>
                  </a:lnTo>
                  <a:lnTo>
                    <a:pt x="1788" y="950"/>
                  </a:lnTo>
                  <a:lnTo>
                    <a:pt x="1030" y="950"/>
                  </a:lnTo>
                  <a:lnTo>
                    <a:pt x="1008" y="967"/>
                  </a:lnTo>
                  <a:lnTo>
                    <a:pt x="989" y="984"/>
                  </a:lnTo>
                  <a:lnTo>
                    <a:pt x="978" y="992"/>
                  </a:lnTo>
                  <a:lnTo>
                    <a:pt x="966" y="999"/>
                  </a:lnTo>
                  <a:lnTo>
                    <a:pt x="956" y="1005"/>
                  </a:lnTo>
                  <a:lnTo>
                    <a:pt x="943" y="1011"/>
                  </a:lnTo>
                  <a:lnTo>
                    <a:pt x="931" y="1015"/>
                  </a:lnTo>
                  <a:lnTo>
                    <a:pt x="917" y="1020"/>
                  </a:lnTo>
                  <a:lnTo>
                    <a:pt x="903" y="1025"/>
                  </a:lnTo>
                  <a:lnTo>
                    <a:pt x="889" y="1028"/>
                  </a:lnTo>
                  <a:lnTo>
                    <a:pt x="873" y="1032"/>
                  </a:lnTo>
                  <a:lnTo>
                    <a:pt x="855" y="1034"/>
                  </a:lnTo>
                  <a:lnTo>
                    <a:pt x="836" y="1035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7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5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4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3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2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1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10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8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7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6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5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4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3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1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800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9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8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7" y="1037"/>
                  </a:lnTo>
                  <a:lnTo>
                    <a:pt x="796" y="1037"/>
                  </a:lnTo>
                  <a:lnTo>
                    <a:pt x="796" y="1037"/>
                  </a:lnTo>
                  <a:lnTo>
                    <a:pt x="37" y="1037"/>
                  </a:lnTo>
                  <a:lnTo>
                    <a:pt x="55" y="1017"/>
                  </a:lnTo>
                  <a:close/>
                  <a:moveTo>
                    <a:pt x="2370" y="616"/>
                  </a:moveTo>
                  <a:lnTo>
                    <a:pt x="2214" y="616"/>
                  </a:lnTo>
                  <a:lnTo>
                    <a:pt x="2029" y="850"/>
                  </a:lnTo>
                  <a:lnTo>
                    <a:pt x="2012" y="870"/>
                  </a:lnTo>
                  <a:lnTo>
                    <a:pt x="1995" y="891"/>
                  </a:lnTo>
                  <a:lnTo>
                    <a:pt x="1977" y="910"/>
                  </a:lnTo>
                  <a:lnTo>
                    <a:pt x="1958" y="929"/>
                  </a:lnTo>
                  <a:lnTo>
                    <a:pt x="2001" y="929"/>
                  </a:lnTo>
                  <a:lnTo>
                    <a:pt x="2010" y="929"/>
                  </a:lnTo>
                  <a:lnTo>
                    <a:pt x="2019" y="929"/>
                  </a:lnTo>
                  <a:lnTo>
                    <a:pt x="2030" y="929"/>
                  </a:lnTo>
                  <a:lnTo>
                    <a:pt x="2039" y="929"/>
                  </a:lnTo>
                  <a:lnTo>
                    <a:pt x="2054" y="929"/>
                  </a:lnTo>
                  <a:lnTo>
                    <a:pt x="2067" y="926"/>
                  </a:lnTo>
                  <a:lnTo>
                    <a:pt x="2080" y="925"/>
                  </a:lnTo>
                  <a:lnTo>
                    <a:pt x="2093" y="922"/>
                  </a:lnTo>
                  <a:lnTo>
                    <a:pt x="2104" y="919"/>
                  </a:lnTo>
                  <a:lnTo>
                    <a:pt x="2114" y="915"/>
                  </a:lnTo>
                  <a:lnTo>
                    <a:pt x="2123" y="911"/>
                  </a:lnTo>
                  <a:lnTo>
                    <a:pt x="2133" y="907"/>
                  </a:lnTo>
                  <a:lnTo>
                    <a:pt x="2141" y="901"/>
                  </a:lnTo>
                  <a:lnTo>
                    <a:pt x="2149" y="896"/>
                  </a:lnTo>
                  <a:lnTo>
                    <a:pt x="2157" y="889"/>
                  </a:lnTo>
                  <a:lnTo>
                    <a:pt x="2164" y="883"/>
                  </a:lnTo>
                  <a:lnTo>
                    <a:pt x="2177" y="870"/>
                  </a:lnTo>
                  <a:lnTo>
                    <a:pt x="2188" y="855"/>
                  </a:lnTo>
                  <a:lnTo>
                    <a:pt x="2209" y="828"/>
                  </a:lnTo>
                  <a:lnTo>
                    <a:pt x="2230" y="801"/>
                  </a:lnTo>
                  <a:lnTo>
                    <a:pt x="2251" y="774"/>
                  </a:lnTo>
                  <a:lnTo>
                    <a:pt x="2272" y="747"/>
                  </a:lnTo>
                  <a:lnTo>
                    <a:pt x="2292" y="720"/>
                  </a:lnTo>
                  <a:lnTo>
                    <a:pt x="2313" y="693"/>
                  </a:lnTo>
                  <a:lnTo>
                    <a:pt x="2333" y="667"/>
                  </a:lnTo>
                  <a:lnTo>
                    <a:pt x="2353" y="638"/>
                  </a:lnTo>
                  <a:lnTo>
                    <a:pt x="2362" y="627"/>
                  </a:lnTo>
                  <a:lnTo>
                    <a:pt x="2370" y="616"/>
                  </a:lnTo>
                  <a:close/>
                  <a:moveTo>
                    <a:pt x="1808" y="929"/>
                  </a:moveTo>
                  <a:lnTo>
                    <a:pt x="1816" y="919"/>
                  </a:lnTo>
                  <a:lnTo>
                    <a:pt x="1825" y="909"/>
                  </a:lnTo>
                  <a:lnTo>
                    <a:pt x="1853" y="873"/>
                  </a:lnTo>
                  <a:lnTo>
                    <a:pt x="1882" y="835"/>
                  </a:lnTo>
                  <a:lnTo>
                    <a:pt x="1911" y="799"/>
                  </a:lnTo>
                  <a:lnTo>
                    <a:pt x="1940" y="763"/>
                  </a:lnTo>
                  <a:lnTo>
                    <a:pt x="1968" y="726"/>
                  </a:lnTo>
                  <a:lnTo>
                    <a:pt x="1997" y="689"/>
                  </a:lnTo>
                  <a:lnTo>
                    <a:pt x="2025" y="652"/>
                  </a:lnTo>
                  <a:lnTo>
                    <a:pt x="2053" y="616"/>
                  </a:lnTo>
                  <a:lnTo>
                    <a:pt x="1459" y="616"/>
                  </a:lnTo>
                  <a:lnTo>
                    <a:pt x="1440" y="616"/>
                  </a:lnTo>
                  <a:lnTo>
                    <a:pt x="1421" y="617"/>
                  </a:lnTo>
                  <a:lnTo>
                    <a:pt x="1404" y="620"/>
                  </a:lnTo>
                  <a:lnTo>
                    <a:pt x="1386" y="622"/>
                  </a:lnTo>
                  <a:lnTo>
                    <a:pt x="1369" y="626"/>
                  </a:lnTo>
                  <a:lnTo>
                    <a:pt x="1354" y="630"/>
                  </a:lnTo>
                  <a:lnTo>
                    <a:pt x="1337" y="636"/>
                  </a:lnTo>
                  <a:lnTo>
                    <a:pt x="1322" y="642"/>
                  </a:lnTo>
                  <a:lnTo>
                    <a:pt x="1308" y="648"/>
                  </a:lnTo>
                  <a:lnTo>
                    <a:pt x="1294" y="655"/>
                  </a:lnTo>
                  <a:lnTo>
                    <a:pt x="1281" y="663"/>
                  </a:lnTo>
                  <a:lnTo>
                    <a:pt x="1268" y="672"/>
                  </a:lnTo>
                  <a:lnTo>
                    <a:pt x="1255" y="682"/>
                  </a:lnTo>
                  <a:lnTo>
                    <a:pt x="1244" y="691"/>
                  </a:lnTo>
                  <a:lnTo>
                    <a:pt x="1232" y="702"/>
                  </a:lnTo>
                  <a:lnTo>
                    <a:pt x="1221" y="713"/>
                  </a:lnTo>
                  <a:lnTo>
                    <a:pt x="1046" y="929"/>
                  </a:lnTo>
                  <a:lnTo>
                    <a:pt x="1808" y="929"/>
                  </a:lnTo>
                  <a:close/>
                </a:path>
              </a:pathLst>
            </a:custGeom>
            <a:solidFill>
              <a:srgbClr val="F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" name="Freeform 95"/>
            <p:cNvSpPr>
              <a:spLocks/>
            </p:cNvSpPr>
            <p:nvPr userDrawn="1"/>
          </p:nvSpPr>
          <p:spPr bwMode="auto">
            <a:xfrm>
              <a:off x="11177720" y="4681538"/>
              <a:ext cx="295032" cy="193675"/>
            </a:xfrm>
            <a:custGeom>
              <a:avLst/>
              <a:gdLst>
                <a:gd name="T0" fmla="*/ 275 w 451"/>
                <a:gd name="T1" fmla="*/ 0 h 367"/>
                <a:gd name="T2" fmla="*/ 451 w 451"/>
                <a:gd name="T3" fmla="*/ 0 h 367"/>
                <a:gd name="T4" fmla="*/ 161 w 451"/>
                <a:gd name="T5" fmla="*/ 367 h 367"/>
                <a:gd name="T6" fmla="*/ 0 w 451"/>
                <a:gd name="T7" fmla="*/ 367 h 367"/>
                <a:gd name="T8" fmla="*/ 35 w 451"/>
                <a:gd name="T9" fmla="*/ 322 h 367"/>
                <a:gd name="T10" fmla="*/ 70 w 451"/>
                <a:gd name="T11" fmla="*/ 276 h 367"/>
                <a:gd name="T12" fmla="*/ 106 w 451"/>
                <a:gd name="T13" fmla="*/ 230 h 367"/>
                <a:gd name="T14" fmla="*/ 139 w 451"/>
                <a:gd name="T15" fmla="*/ 185 h 367"/>
                <a:gd name="T16" fmla="*/ 175 w 451"/>
                <a:gd name="T17" fmla="*/ 138 h 367"/>
                <a:gd name="T18" fmla="*/ 209 w 451"/>
                <a:gd name="T19" fmla="*/ 92 h 367"/>
                <a:gd name="T20" fmla="*/ 242 w 451"/>
                <a:gd name="T21" fmla="*/ 45 h 367"/>
                <a:gd name="T22" fmla="*/ 275 w 451"/>
                <a:gd name="T23" fmla="*/ 0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1" h="367">
                  <a:moveTo>
                    <a:pt x="275" y="0"/>
                  </a:moveTo>
                  <a:lnTo>
                    <a:pt x="451" y="0"/>
                  </a:lnTo>
                  <a:lnTo>
                    <a:pt x="161" y="367"/>
                  </a:lnTo>
                  <a:lnTo>
                    <a:pt x="0" y="367"/>
                  </a:lnTo>
                  <a:lnTo>
                    <a:pt x="35" y="322"/>
                  </a:lnTo>
                  <a:lnTo>
                    <a:pt x="70" y="276"/>
                  </a:lnTo>
                  <a:lnTo>
                    <a:pt x="106" y="230"/>
                  </a:lnTo>
                  <a:lnTo>
                    <a:pt x="139" y="185"/>
                  </a:lnTo>
                  <a:lnTo>
                    <a:pt x="175" y="138"/>
                  </a:lnTo>
                  <a:lnTo>
                    <a:pt x="209" y="92"/>
                  </a:lnTo>
                  <a:lnTo>
                    <a:pt x="242" y="45"/>
                  </a:lnTo>
                  <a:lnTo>
                    <a:pt x="275" y="0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" name="Freeform 96"/>
            <p:cNvSpPr>
              <a:spLocks noEditPoints="1"/>
            </p:cNvSpPr>
            <p:nvPr userDrawn="1"/>
          </p:nvSpPr>
          <p:spPr bwMode="auto">
            <a:xfrm>
              <a:off x="10472386" y="4806954"/>
              <a:ext cx="1256324" cy="246063"/>
            </a:xfrm>
            <a:custGeom>
              <a:avLst/>
              <a:gdLst>
                <a:gd name="T0" fmla="*/ 1414 w 1930"/>
                <a:gd name="T1" fmla="*/ 115 h 464"/>
                <a:gd name="T2" fmla="*/ 1437 w 1930"/>
                <a:gd name="T3" fmla="*/ 88 h 464"/>
                <a:gd name="T4" fmla="*/ 1461 w 1930"/>
                <a:gd name="T5" fmla="*/ 66 h 464"/>
                <a:gd name="T6" fmla="*/ 1485 w 1930"/>
                <a:gd name="T7" fmla="*/ 46 h 464"/>
                <a:gd name="T8" fmla="*/ 1510 w 1930"/>
                <a:gd name="T9" fmla="*/ 29 h 464"/>
                <a:gd name="T10" fmla="*/ 1535 w 1930"/>
                <a:gd name="T11" fmla="*/ 17 h 464"/>
                <a:gd name="T12" fmla="*/ 1560 w 1930"/>
                <a:gd name="T13" fmla="*/ 7 h 464"/>
                <a:gd name="T14" fmla="*/ 1587 w 1930"/>
                <a:gd name="T15" fmla="*/ 1 h 464"/>
                <a:gd name="T16" fmla="*/ 1641 w 1930"/>
                <a:gd name="T17" fmla="*/ 0 h 464"/>
                <a:gd name="T18" fmla="*/ 1724 w 1930"/>
                <a:gd name="T19" fmla="*/ 0 h 464"/>
                <a:gd name="T20" fmla="*/ 1806 w 1930"/>
                <a:gd name="T21" fmla="*/ 0 h 464"/>
                <a:gd name="T22" fmla="*/ 1889 w 1930"/>
                <a:gd name="T23" fmla="*/ 0 h 464"/>
                <a:gd name="T24" fmla="*/ 1930 w 1930"/>
                <a:gd name="T25" fmla="*/ 3 h 464"/>
                <a:gd name="T26" fmla="*/ 1930 w 1930"/>
                <a:gd name="T27" fmla="*/ 6 h 464"/>
                <a:gd name="T28" fmla="*/ 1930 w 1930"/>
                <a:gd name="T29" fmla="*/ 10 h 464"/>
                <a:gd name="T30" fmla="*/ 1930 w 1930"/>
                <a:gd name="T31" fmla="*/ 14 h 464"/>
                <a:gd name="T32" fmla="*/ 1930 w 1930"/>
                <a:gd name="T33" fmla="*/ 17 h 464"/>
                <a:gd name="T34" fmla="*/ 1930 w 1930"/>
                <a:gd name="T35" fmla="*/ 20 h 464"/>
                <a:gd name="T36" fmla="*/ 1930 w 1930"/>
                <a:gd name="T37" fmla="*/ 25 h 464"/>
                <a:gd name="T38" fmla="*/ 1930 w 1930"/>
                <a:gd name="T39" fmla="*/ 28 h 464"/>
                <a:gd name="T40" fmla="*/ 1930 w 1930"/>
                <a:gd name="T41" fmla="*/ 32 h 464"/>
                <a:gd name="T42" fmla="*/ 1930 w 1930"/>
                <a:gd name="T43" fmla="*/ 37 h 464"/>
                <a:gd name="T44" fmla="*/ 1930 w 1930"/>
                <a:gd name="T45" fmla="*/ 39 h 464"/>
                <a:gd name="T46" fmla="*/ 1930 w 1930"/>
                <a:gd name="T47" fmla="*/ 44 h 464"/>
                <a:gd name="T48" fmla="*/ 1930 w 1930"/>
                <a:gd name="T49" fmla="*/ 47 h 464"/>
                <a:gd name="T50" fmla="*/ 1930 w 1930"/>
                <a:gd name="T51" fmla="*/ 51 h 464"/>
                <a:gd name="T52" fmla="*/ 1930 w 1930"/>
                <a:gd name="T53" fmla="*/ 55 h 464"/>
                <a:gd name="T54" fmla="*/ 1930 w 1930"/>
                <a:gd name="T55" fmla="*/ 59 h 464"/>
                <a:gd name="T56" fmla="*/ 1930 w 1930"/>
                <a:gd name="T57" fmla="*/ 61 h 464"/>
                <a:gd name="T58" fmla="*/ 1930 w 1930"/>
                <a:gd name="T59" fmla="*/ 67 h 464"/>
                <a:gd name="T60" fmla="*/ 1930 w 1930"/>
                <a:gd name="T61" fmla="*/ 70 h 464"/>
                <a:gd name="T62" fmla="*/ 1930 w 1930"/>
                <a:gd name="T63" fmla="*/ 73 h 464"/>
                <a:gd name="T64" fmla="*/ 1930 w 1930"/>
                <a:gd name="T65" fmla="*/ 77 h 464"/>
                <a:gd name="T66" fmla="*/ 1930 w 1930"/>
                <a:gd name="T67" fmla="*/ 81 h 464"/>
                <a:gd name="T68" fmla="*/ 1930 w 1930"/>
                <a:gd name="T69" fmla="*/ 85 h 464"/>
                <a:gd name="T70" fmla="*/ 1930 w 1930"/>
                <a:gd name="T71" fmla="*/ 89 h 464"/>
                <a:gd name="T72" fmla="*/ 1930 w 1930"/>
                <a:gd name="T73" fmla="*/ 93 h 464"/>
                <a:gd name="T74" fmla="*/ 1930 w 1930"/>
                <a:gd name="T75" fmla="*/ 95 h 464"/>
                <a:gd name="T76" fmla="*/ 1930 w 1930"/>
                <a:gd name="T77" fmla="*/ 101 h 464"/>
                <a:gd name="T78" fmla="*/ 1930 w 1930"/>
                <a:gd name="T79" fmla="*/ 103 h 464"/>
                <a:gd name="T80" fmla="*/ 1930 w 1930"/>
                <a:gd name="T81" fmla="*/ 107 h 464"/>
                <a:gd name="T82" fmla="*/ 1930 w 1930"/>
                <a:gd name="T83" fmla="*/ 113 h 464"/>
                <a:gd name="T84" fmla="*/ 1930 w 1930"/>
                <a:gd name="T85" fmla="*/ 115 h 464"/>
                <a:gd name="T86" fmla="*/ 1930 w 1930"/>
                <a:gd name="T87" fmla="*/ 118 h 464"/>
                <a:gd name="T88" fmla="*/ 1930 w 1930"/>
                <a:gd name="T89" fmla="*/ 123 h 464"/>
                <a:gd name="T90" fmla="*/ 1930 w 1930"/>
                <a:gd name="T91" fmla="*/ 127 h 464"/>
                <a:gd name="T92" fmla="*/ 1930 w 1930"/>
                <a:gd name="T93" fmla="*/ 130 h 464"/>
                <a:gd name="T94" fmla="*/ 62 w 1930"/>
                <a:gd name="T95" fmla="*/ 464 h 464"/>
                <a:gd name="T96" fmla="*/ 10 w 1930"/>
                <a:gd name="T97" fmla="*/ 453 h 464"/>
                <a:gd name="T98" fmla="*/ 78 w 1930"/>
                <a:gd name="T99" fmla="*/ 443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30" h="464">
                  <a:moveTo>
                    <a:pt x="1402" y="130"/>
                  </a:moveTo>
                  <a:lnTo>
                    <a:pt x="1414" y="115"/>
                  </a:lnTo>
                  <a:lnTo>
                    <a:pt x="1426" y="101"/>
                  </a:lnTo>
                  <a:lnTo>
                    <a:pt x="1437" y="88"/>
                  </a:lnTo>
                  <a:lnTo>
                    <a:pt x="1449" y="76"/>
                  </a:lnTo>
                  <a:lnTo>
                    <a:pt x="1461" y="66"/>
                  </a:lnTo>
                  <a:lnTo>
                    <a:pt x="1473" y="55"/>
                  </a:lnTo>
                  <a:lnTo>
                    <a:pt x="1485" y="46"/>
                  </a:lnTo>
                  <a:lnTo>
                    <a:pt x="1497" y="38"/>
                  </a:lnTo>
                  <a:lnTo>
                    <a:pt x="1510" y="29"/>
                  </a:lnTo>
                  <a:lnTo>
                    <a:pt x="1522" y="22"/>
                  </a:lnTo>
                  <a:lnTo>
                    <a:pt x="1535" y="17"/>
                  </a:lnTo>
                  <a:lnTo>
                    <a:pt x="1547" y="12"/>
                  </a:lnTo>
                  <a:lnTo>
                    <a:pt x="1560" y="7"/>
                  </a:lnTo>
                  <a:lnTo>
                    <a:pt x="1573" y="4"/>
                  </a:lnTo>
                  <a:lnTo>
                    <a:pt x="1587" y="1"/>
                  </a:lnTo>
                  <a:lnTo>
                    <a:pt x="1600" y="0"/>
                  </a:lnTo>
                  <a:lnTo>
                    <a:pt x="1641" y="0"/>
                  </a:lnTo>
                  <a:lnTo>
                    <a:pt x="1682" y="0"/>
                  </a:lnTo>
                  <a:lnTo>
                    <a:pt x="1724" y="0"/>
                  </a:lnTo>
                  <a:lnTo>
                    <a:pt x="1765" y="0"/>
                  </a:lnTo>
                  <a:lnTo>
                    <a:pt x="1806" y="0"/>
                  </a:lnTo>
                  <a:lnTo>
                    <a:pt x="1847" y="0"/>
                  </a:lnTo>
                  <a:lnTo>
                    <a:pt x="1889" y="0"/>
                  </a:lnTo>
                  <a:lnTo>
                    <a:pt x="1930" y="0"/>
                  </a:lnTo>
                  <a:lnTo>
                    <a:pt x="1930" y="3"/>
                  </a:lnTo>
                  <a:lnTo>
                    <a:pt x="1930" y="4"/>
                  </a:lnTo>
                  <a:lnTo>
                    <a:pt x="1930" y="6"/>
                  </a:lnTo>
                  <a:lnTo>
                    <a:pt x="1930" y="8"/>
                  </a:lnTo>
                  <a:lnTo>
                    <a:pt x="1930" y="10"/>
                  </a:lnTo>
                  <a:lnTo>
                    <a:pt x="1930" y="11"/>
                  </a:lnTo>
                  <a:lnTo>
                    <a:pt x="1930" y="14"/>
                  </a:lnTo>
                  <a:lnTo>
                    <a:pt x="1930" y="14"/>
                  </a:lnTo>
                  <a:lnTo>
                    <a:pt x="1930" y="17"/>
                  </a:lnTo>
                  <a:lnTo>
                    <a:pt x="1930" y="20"/>
                  </a:lnTo>
                  <a:lnTo>
                    <a:pt x="1930" y="20"/>
                  </a:lnTo>
                  <a:lnTo>
                    <a:pt x="1930" y="22"/>
                  </a:lnTo>
                  <a:lnTo>
                    <a:pt x="1930" y="25"/>
                  </a:lnTo>
                  <a:lnTo>
                    <a:pt x="1930" y="26"/>
                  </a:lnTo>
                  <a:lnTo>
                    <a:pt x="1930" y="28"/>
                  </a:lnTo>
                  <a:lnTo>
                    <a:pt x="1930" y="31"/>
                  </a:lnTo>
                  <a:lnTo>
                    <a:pt x="1930" y="32"/>
                  </a:lnTo>
                  <a:lnTo>
                    <a:pt x="1930" y="34"/>
                  </a:lnTo>
                  <a:lnTo>
                    <a:pt x="1930" y="37"/>
                  </a:lnTo>
                  <a:lnTo>
                    <a:pt x="1930" y="38"/>
                  </a:lnTo>
                  <a:lnTo>
                    <a:pt x="1930" y="39"/>
                  </a:lnTo>
                  <a:lnTo>
                    <a:pt x="1930" y="42"/>
                  </a:lnTo>
                  <a:lnTo>
                    <a:pt x="1930" y="44"/>
                  </a:lnTo>
                  <a:lnTo>
                    <a:pt x="1930" y="45"/>
                  </a:lnTo>
                  <a:lnTo>
                    <a:pt x="1930" y="47"/>
                  </a:lnTo>
                  <a:lnTo>
                    <a:pt x="1930" y="49"/>
                  </a:lnTo>
                  <a:lnTo>
                    <a:pt x="1930" y="51"/>
                  </a:lnTo>
                  <a:lnTo>
                    <a:pt x="1930" y="53"/>
                  </a:lnTo>
                  <a:lnTo>
                    <a:pt x="1930" y="55"/>
                  </a:lnTo>
                  <a:lnTo>
                    <a:pt x="1930" y="56"/>
                  </a:lnTo>
                  <a:lnTo>
                    <a:pt x="1930" y="59"/>
                  </a:lnTo>
                  <a:lnTo>
                    <a:pt x="1930" y="61"/>
                  </a:lnTo>
                  <a:lnTo>
                    <a:pt x="1930" y="61"/>
                  </a:lnTo>
                  <a:lnTo>
                    <a:pt x="1930" y="65"/>
                  </a:lnTo>
                  <a:lnTo>
                    <a:pt x="1930" y="67"/>
                  </a:lnTo>
                  <a:lnTo>
                    <a:pt x="1930" y="67"/>
                  </a:lnTo>
                  <a:lnTo>
                    <a:pt x="1930" y="70"/>
                  </a:lnTo>
                  <a:lnTo>
                    <a:pt x="1930" y="72"/>
                  </a:lnTo>
                  <a:lnTo>
                    <a:pt x="1930" y="73"/>
                  </a:lnTo>
                  <a:lnTo>
                    <a:pt x="1930" y="75"/>
                  </a:lnTo>
                  <a:lnTo>
                    <a:pt x="1930" y="77"/>
                  </a:lnTo>
                  <a:lnTo>
                    <a:pt x="1930" y="79"/>
                  </a:lnTo>
                  <a:lnTo>
                    <a:pt x="1930" y="81"/>
                  </a:lnTo>
                  <a:lnTo>
                    <a:pt x="1930" y="83"/>
                  </a:lnTo>
                  <a:lnTo>
                    <a:pt x="1930" y="85"/>
                  </a:lnTo>
                  <a:lnTo>
                    <a:pt x="1930" y="87"/>
                  </a:lnTo>
                  <a:lnTo>
                    <a:pt x="1930" y="89"/>
                  </a:lnTo>
                  <a:lnTo>
                    <a:pt x="1930" y="89"/>
                  </a:lnTo>
                  <a:lnTo>
                    <a:pt x="1930" y="93"/>
                  </a:lnTo>
                  <a:lnTo>
                    <a:pt x="1930" y="95"/>
                  </a:lnTo>
                  <a:lnTo>
                    <a:pt x="1930" y="95"/>
                  </a:lnTo>
                  <a:lnTo>
                    <a:pt x="1930" y="99"/>
                  </a:lnTo>
                  <a:lnTo>
                    <a:pt x="1930" y="101"/>
                  </a:lnTo>
                  <a:lnTo>
                    <a:pt x="1930" y="101"/>
                  </a:lnTo>
                  <a:lnTo>
                    <a:pt x="1930" y="103"/>
                  </a:lnTo>
                  <a:lnTo>
                    <a:pt x="1930" y="107"/>
                  </a:lnTo>
                  <a:lnTo>
                    <a:pt x="1930" y="107"/>
                  </a:lnTo>
                  <a:lnTo>
                    <a:pt x="1930" y="109"/>
                  </a:lnTo>
                  <a:lnTo>
                    <a:pt x="1930" y="113"/>
                  </a:lnTo>
                  <a:lnTo>
                    <a:pt x="1930" y="113"/>
                  </a:lnTo>
                  <a:lnTo>
                    <a:pt x="1930" y="115"/>
                  </a:lnTo>
                  <a:lnTo>
                    <a:pt x="1930" y="117"/>
                  </a:lnTo>
                  <a:lnTo>
                    <a:pt x="1930" y="118"/>
                  </a:lnTo>
                  <a:lnTo>
                    <a:pt x="1930" y="121"/>
                  </a:lnTo>
                  <a:lnTo>
                    <a:pt x="1930" y="123"/>
                  </a:lnTo>
                  <a:lnTo>
                    <a:pt x="1930" y="124"/>
                  </a:lnTo>
                  <a:lnTo>
                    <a:pt x="1930" y="127"/>
                  </a:lnTo>
                  <a:lnTo>
                    <a:pt x="1930" y="129"/>
                  </a:lnTo>
                  <a:lnTo>
                    <a:pt x="1930" y="130"/>
                  </a:lnTo>
                  <a:lnTo>
                    <a:pt x="1402" y="130"/>
                  </a:lnTo>
                  <a:close/>
                  <a:moveTo>
                    <a:pt x="62" y="464"/>
                  </a:moveTo>
                  <a:lnTo>
                    <a:pt x="0" y="464"/>
                  </a:lnTo>
                  <a:lnTo>
                    <a:pt x="10" y="453"/>
                  </a:lnTo>
                  <a:lnTo>
                    <a:pt x="19" y="443"/>
                  </a:lnTo>
                  <a:lnTo>
                    <a:pt x="78" y="443"/>
                  </a:lnTo>
                  <a:lnTo>
                    <a:pt x="62" y="464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" name="Freeform 97"/>
            <p:cNvSpPr>
              <a:spLocks/>
            </p:cNvSpPr>
            <p:nvPr userDrawn="1"/>
          </p:nvSpPr>
          <p:spPr bwMode="auto">
            <a:xfrm>
              <a:off x="11005785" y="5041905"/>
              <a:ext cx="111369" cy="11113"/>
            </a:xfrm>
            <a:custGeom>
              <a:avLst/>
              <a:gdLst>
                <a:gd name="T0" fmla="*/ 149 w 170"/>
                <a:gd name="T1" fmla="*/ 21 h 21"/>
                <a:gd name="T2" fmla="*/ 0 w 170"/>
                <a:gd name="T3" fmla="*/ 21 h 21"/>
                <a:gd name="T4" fmla="*/ 9 w 170"/>
                <a:gd name="T5" fmla="*/ 10 h 21"/>
                <a:gd name="T6" fmla="*/ 20 w 170"/>
                <a:gd name="T7" fmla="*/ 0 h 21"/>
                <a:gd name="T8" fmla="*/ 170 w 170"/>
                <a:gd name="T9" fmla="*/ 0 h 21"/>
                <a:gd name="T10" fmla="*/ 160 w 170"/>
                <a:gd name="T11" fmla="*/ 10 h 21"/>
                <a:gd name="T12" fmla="*/ 149 w 170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1">
                  <a:moveTo>
                    <a:pt x="149" y="21"/>
                  </a:moveTo>
                  <a:lnTo>
                    <a:pt x="0" y="21"/>
                  </a:lnTo>
                  <a:lnTo>
                    <a:pt x="9" y="10"/>
                  </a:lnTo>
                  <a:lnTo>
                    <a:pt x="20" y="0"/>
                  </a:lnTo>
                  <a:lnTo>
                    <a:pt x="170" y="0"/>
                  </a:lnTo>
                  <a:lnTo>
                    <a:pt x="160" y="10"/>
                  </a:lnTo>
                  <a:lnTo>
                    <a:pt x="149" y="21"/>
                  </a:lnTo>
                  <a:close/>
                </a:path>
              </a:pathLst>
            </a:custGeom>
            <a:solidFill>
              <a:srgbClr val="ECEC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" name="Freeform 98"/>
            <p:cNvSpPr>
              <a:spLocks/>
            </p:cNvSpPr>
            <p:nvPr userDrawn="1"/>
          </p:nvSpPr>
          <p:spPr bwMode="auto">
            <a:xfrm>
              <a:off x="9890140" y="4857750"/>
              <a:ext cx="1838569" cy="217488"/>
            </a:xfrm>
            <a:custGeom>
              <a:avLst/>
              <a:gdLst>
                <a:gd name="T0" fmla="*/ 2374 w 2823"/>
                <a:gd name="T1" fmla="*/ 390 h 410"/>
                <a:gd name="T2" fmla="*/ 2385 w 2823"/>
                <a:gd name="T3" fmla="*/ 390 h 410"/>
                <a:gd name="T4" fmla="*/ 2397 w 2823"/>
                <a:gd name="T5" fmla="*/ 390 h 410"/>
                <a:gd name="T6" fmla="*/ 2425 w 2823"/>
                <a:gd name="T7" fmla="*/ 390 h 410"/>
                <a:gd name="T8" fmla="*/ 2451 w 2823"/>
                <a:gd name="T9" fmla="*/ 388 h 410"/>
                <a:gd name="T10" fmla="*/ 2474 w 2823"/>
                <a:gd name="T11" fmla="*/ 384 h 410"/>
                <a:gd name="T12" fmla="*/ 2497 w 2823"/>
                <a:gd name="T13" fmla="*/ 379 h 410"/>
                <a:gd name="T14" fmla="*/ 2506 w 2823"/>
                <a:gd name="T15" fmla="*/ 376 h 410"/>
                <a:gd name="T16" fmla="*/ 2515 w 2823"/>
                <a:gd name="T17" fmla="*/ 372 h 410"/>
                <a:gd name="T18" fmla="*/ 2525 w 2823"/>
                <a:gd name="T19" fmla="*/ 368 h 410"/>
                <a:gd name="T20" fmla="*/ 2533 w 2823"/>
                <a:gd name="T21" fmla="*/ 363 h 410"/>
                <a:gd name="T22" fmla="*/ 2541 w 2823"/>
                <a:gd name="T23" fmla="*/ 358 h 410"/>
                <a:gd name="T24" fmla="*/ 2549 w 2823"/>
                <a:gd name="T25" fmla="*/ 352 h 410"/>
                <a:gd name="T26" fmla="*/ 2555 w 2823"/>
                <a:gd name="T27" fmla="*/ 346 h 410"/>
                <a:gd name="T28" fmla="*/ 2562 w 2823"/>
                <a:gd name="T29" fmla="*/ 340 h 410"/>
                <a:gd name="T30" fmla="*/ 2595 w 2823"/>
                <a:gd name="T31" fmla="*/ 297 h 410"/>
                <a:gd name="T32" fmla="*/ 2628 w 2823"/>
                <a:gd name="T33" fmla="*/ 254 h 410"/>
                <a:gd name="T34" fmla="*/ 2660 w 2823"/>
                <a:gd name="T35" fmla="*/ 212 h 410"/>
                <a:gd name="T36" fmla="*/ 2692 w 2823"/>
                <a:gd name="T37" fmla="*/ 170 h 410"/>
                <a:gd name="T38" fmla="*/ 2725 w 2823"/>
                <a:gd name="T39" fmla="*/ 128 h 410"/>
                <a:gd name="T40" fmla="*/ 2757 w 2823"/>
                <a:gd name="T41" fmla="*/ 86 h 410"/>
                <a:gd name="T42" fmla="*/ 2790 w 2823"/>
                <a:gd name="T43" fmla="*/ 43 h 410"/>
                <a:gd name="T44" fmla="*/ 2823 w 2823"/>
                <a:gd name="T45" fmla="*/ 0 h 410"/>
                <a:gd name="T46" fmla="*/ 2823 w 2823"/>
                <a:gd name="T47" fmla="*/ 28 h 410"/>
                <a:gd name="T48" fmla="*/ 2823 w 2823"/>
                <a:gd name="T49" fmla="*/ 55 h 410"/>
                <a:gd name="T50" fmla="*/ 2823 w 2823"/>
                <a:gd name="T51" fmla="*/ 82 h 410"/>
                <a:gd name="T52" fmla="*/ 2823 w 2823"/>
                <a:gd name="T53" fmla="*/ 110 h 410"/>
                <a:gd name="T54" fmla="*/ 2823 w 2823"/>
                <a:gd name="T55" fmla="*/ 137 h 410"/>
                <a:gd name="T56" fmla="*/ 2823 w 2823"/>
                <a:gd name="T57" fmla="*/ 164 h 410"/>
                <a:gd name="T58" fmla="*/ 2823 w 2823"/>
                <a:gd name="T59" fmla="*/ 192 h 410"/>
                <a:gd name="T60" fmla="*/ 2823 w 2823"/>
                <a:gd name="T61" fmla="*/ 219 h 410"/>
                <a:gd name="T62" fmla="*/ 2804 w 2823"/>
                <a:gd name="T63" fmla="*/ 245 h 410"/>
                <a:gd name="T64" fmla="*/ 2786 w 2823"/>
                <a:gd name="T65" fmla="*/ 270 h 410"/>
                <a:gd name="T66" fmla="*/ 2768 w 2823"/>
                <a:gd name="T67" fmla="*/ 294 h 410"/>
                <a:gd name="T68" fmla="*/ 2749 w 2823"/>
                <a:gd name="T69" fmla="*/ 320 h 410"/>
                <a:gd name="T70" fmla="*/ 2738 w 2823"/>
                <a:gd name="T71" fmla="*/ 333 h 410"/>
                <a:gd name="T72" fmla="*/ 2727 w 2823"/>
                <a:gd name="T73" fmla="*/ 345 h 410"/>
                <a:gd name="T74" fmla="*/ 2717 w 2823"/>
                <a:gd name="T75" fmla="*/ 355 h 410"/>
                <a:gd name="T76" fmla="*/ 2705 w 2823"/>
                <a:gd name="T77" fmla="*/ 365 h 410"/>
                <a:gd name="T78" fmla="*/ 2694 w 2823"/>
                <a:gd name="T79" fmla="*/ 373 h 410"/>
                <a:gd name="T80" fmla="*/ 2683 w 2823"/>
                <a:gd name="T81" fmla="*/ 380 h 410"/>
                <a:gd name="T82" fmla="*/ 2672 w 2823"/>
                <a:gd name="T83" fmla="*/ 387 h 410"/>
                <a:gd name="T84" fmla="*/ 2660 w 2823"/>
                <a:gd name="T85" fmla="*/ 393 h 410"/>
                <a:gd name="T86" fmla="*/ 2649 w 2823"/>
                <a:gd name="T87" fmla="*/ 397 h 410"/>
                <a:gd name="T88" fmla="*/ 2637 w 2823"/>
                <a:gd name="T89" fmla="*/ 401 h 410"/>
                <a:gd name="T90" fmla="*/ 2625 w 2823"/>
                <a:gd name="T91" fmla="*/ 404 h 410"/>
                <a:gd name="T92" fmla="*/ 2614 w 2823"/>
                <a:gd name="T93" fmla="*/ 407 h 410"/>
                <a:gd name="T94" fmla="*/ 2590 w 2823"/>
                <a:gd name="T95" fmla="*/ 409 h 410"/>
                <a:gd name="T96" fmla="*/ 2567 w 2823"/>
                <a:gd name="T97" fmla="*/ 410 h 410"/>
                <a:gd name="T98" fmla="*/ 2523 w 2823"/>
                <a:gd name="T99" fmla="*/ 410 h 410"/>
                <a:gd name="T100" fmla="*/ 2481 w 2823"/>
                <a:gd name="T101" fmla="*/ 410 h 410"/>
                <a:gd name="T102" fmla="*/ 2439 w 2823"/>
                <a:gd name="T103" fmla="*/ 410 h 410"/>
                <a:gd name="T104" fmla="*/ 2397 w 2823"/>
                <a:gd name="T105" fmla="*/ 410 h 410"/>
                <a:gd name="T106" fmla="*/ 2387 w 2823"/>
                <a:gd name="T107" fmla="*/ 410 h 410"/>
                <a:gd name="T108" fmla="*/ 2375 w 2823"/>
                <a:gd name="T109" fmla="*/ 410 h 410"/>
                <a:gd name="T110" fmla="*/ 0 w 2823"/>
                <a:gd name="T111" fmla="*/ 410 h 410"/>
                <a:gd name="T112" fmla="*/ 17 w 2823"/>
                <a:gd name="T113" fmla="*/ 390 h 410"/>
                <a:gd name="T114" fmla="*/ 2374 w 2823"/>
                <a:gd name="T115" fmla="*/ 3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23" h="410">
                  <a:moveTo>
                    <a:pt x="2374" y="390"/>
                  </a:moveTo>
                  <a:lnTo>
                    <a:pt x="2385" y="390"/>
                  </a:lnTo>
                  <a:lnTo>
                    <a:pt x="2397" y="390"/>
                  </a:lnTo>
                  <a:lnTo>
                    <a:pt x="2425" y="390"/>
                  </a:lnTo>
                  <a:lnTo>
                    <a:pt x="2451" y="388"/>
                  </a:lnTo>
                  <a:lnTo>
                    <a:pt x="2474" y="384"/>
                  </a:lnTo>
                  <a:lnTo>
                    <a:pt x="2497" y="379"/>
                  </a:lnTo>
                  <a:lnTo>
                    <a:pt x="2506" y="376"/>
                  </a:lnTo>
                  <a:lnTo>
                    <a:pt x="2515" y="372"/>
                  </a:lnTo>
                  <a:lnTo>
                    <a:pt x="2525" y="368"/>
                  </a:lnTo>
                  <a:lnTo>
                    <a:pt x="2533" y="363"/>
                  </a:lnTo>
                  <a:lnTo>
                    <a:pt x="2541" y="358"/>
                  </a:lnTo>
                  <a:lnTo>
                    <a:pt x="2549" y="352"/>
                  </a:lnTo>
                  <a:lnTo>
                    <a:pt x="2555" y="346"/>
                  </a:lnTo>
                  <a:lnTo>
                    <a:pt x="2562" y="340"/>
                  </a:lnTo>
                  <a:lnTo>
                    <a:pt x="2595" y="297"/>
                  </a:lnTo>
                  <a:lnTo>
                    <a:pt x="2628" y="254"/>
                  </a:lnTo>
                  <a:lnTo>
                    <a:pt x="2660" y="212"/>
                  </a:lnTo>
                  <a:lnTo>
                    <a:pt x="2692" y="170"/>
                  </a:lnTo>
                  <a:lnTo>
                    <a:pt x="2725" y="128"/>
                  </a:lnTo>
                  <a:lnTo>
                    <a:pt x="2757" y="86"/>
                  </a:lnTo>
                  <a:lnTo>
                    <a:pt x="2790" y="43"/>
                  </a:lnTo>
                  <a:lnTo>
                    <a:pt x="2823" y="0"/>
                  </a:lnTo>
                  <a:lnTo>
                    <a:pt x="2823" y="28"/>
                  </a:lnTo>
                  <a:lnTo>
                    <a:pt x="2823" y="55"/>
                  </a:lnTo>
                  <a:lnTo>
                    <a:pt x="2823" y="82"/>
                  </a:lnTo>
                  <a:lnTo>
                    <a:pt x="2823" y="110"/>
                  </a:lnTo>
                  <a:lnTo>
                    <a:pt x="2823" y="137"/>
                  </a:lnTo>
                  <a:lnTo>
                    <a:pt x="2823" y="164"/>
                  </a:lnTo>
                  <a:lnTo>
                    <a:pt x="2823" y="192"/>
                  </a:lnTo>
                  <a:lnTo>
                    <a:pt x="2823" y="219"/>
                  </a:lnTo>
                  <a:lnTo>
                    <a:pt x="2804" y="245"/>
                  </a:lnTo>
                  <a:lnTo>
                    <a:pt x="2786" y="270"/>
                  </a:lnTo>
                  <a:lnTo>
                    <a:pt x="2768" y="294"/>
                  </a:lnTo>
                  <a:lnTo>
                    <a:pt x="2749" y="320"/>
                  </a:lnTo>
                  <a:lnTo>
                    <a:pt x="2738" y="333"/>
                  </a:lnTo>
                  <a:lnTo>
                    <a:pt x="2727" y="345"/>
                  </a:lnTo>
                  <a:lnTo>
                    <a:pt x="2717" y="355"/>
                  </a:lnTo>
                  <a:lnTo>
                    <a:pt x="2705" y="365"/>
                  </a:lnTo>
                  <a:lnTo>
                    <a:pt x="2694" y="373"/>
                  </a:lnTo>
                  <a:lnTo>
                    <a:pt x="2683" y="380"/>
                  </a:lnTo>
                  <a:lnTo>
                    <a:pt x="2672" y="387"/>
                  </a:lnTo>
                  <a:lnTo>
                    <a:pt x="2660" y="393"/>
                  </a:lnTo>
                  <a:lnTo>
                    <a:pt x="2649" y="397"/>
                  </a:lnTo>
                  <a:lnTo>
                    <a:pt x="2637" y="401"/>
                  </a:lnTo>
                  <a:lnTo>
                    <a:pt x="2625" y="404"/>
                  </a:lnTo>
                  <a:lnTo>
                    <a:pt x="2614" y="407"/>
                  </a:lnTo>
                  <a:lnTo>
                    <a:pt x="2590" y="409"/>
                  </a:lnTo>
                  <a:lnTo>
                    <a:pt x="2567" y="410"/>
                  </a:lnTo>
                  <a:lnTo>
                    <a:pt x="2523" y="410"/>
                  </a:lnTo>
                  <a:lnTo>
                    <a:pt x="2481" y="410"/>
                  </a:lnTo>
                  <a:lnTo>
                    <a:pt x="2439" y="410"/>
                  </a:lnTo>
                  <a:lnTo>
                    <a:pt x="2397" y="410"/>
                  </a:lnTo>
                  <a:lnTo>
                    <a:pt x="2387" y="410"/>
                  </a:lnTo>
                  <a:lnTo>
                    <a:pt x="2375" y="410"/>
                  </a:lnTo>
                  <a:lnTo>
                    <a:pt x="0" y="410"/>
                  </a:lnTo>
                  <a:lnTo>
                    <a:pt x="17" y="390"/>
                  </a:lnTo>
                  <a:lnTo>
                    <a:pt x="2374" y="39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3876" tIns="51937" rIns="103876" bIns="51937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" name="Номер слайда 23"/>
          <p:cNvSpPr>
            <a:spLocks noGrp="1"/>
          </p:cNvSpPr>
          <p:nvPr userDrawn="1">
            <p:ph type="sldNum" sz="quarter" idx="4"/>
          </p:nvPr>
        </p:nvSpPr>
        <p:spPr>
          <a:xfrm>
            <a:off x="8354516" y="4815046"/>
            <a:ext cx="576064" cy="267494"/>
          </a:xfrm>
          <a:prstGeom prst="rect">
            <a:avLst/>
          </a:prstGeom>
        </p:spPr>
        <p:txBody>
          <a:bodyPr/>
          <a:lstStyle>
            <a:lvl1pPr marL="0" algn="r" defTabSz="519371" rtl="0" eaLnBrk="1" latinLnBrk="0" hangingPunct="1">
              <a:defRPr lang="ru-RU" sz="1400" b="1" kern="1200" smtClean="0">
                <a:solidFill>
                  <a:srgbClr val="E21A1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AB2056-D4F9-4782-8969-B182112ED6BA}" type="slidenum">
              <a:rPr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0" y="5088602"/>
            <a:ext cx="7740352" cy="0"/>
          </a:xfrm>
          <a:prstGeom prst="line">
            <a:avLst/>
          </a:prstGeom>
          <a:ln w="95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9"/>
          <p:cNvGrpSpPr>
            <a:grpSpLocks noChangeAspect="1"/>
          </p:cNvGrpSpPr>
          <p:nvPr userDrawn="1"/>
        </p:nvGrpSpPr>
        <p:grpSpPr bwMode="auto">
          <a:xfrm>
            <a:off x="7778452" y="4887818"/>
            <a:ext cx="520293" cy="231737"/>
            <a:chOff x="5121" y="2970"/>
            <a:chExt cx="467" cy="208"/>
          </a:xfrm>
        </p:grpSpPr>
        <p:sp>
          <p:nvSpPr>
            <p:cNvPr id="22" name="AutoShape 8"/>
            <p:cNvSpPr>
              <a:spLocks noChangeAspect="1" noChangeArrowheads="1" noTextEdit="1"/>
            </p:cNvSpPr>
            <p:nvPr userDrawn="1"/>
          </p:nvSpPr>
          <p:spPr bwMode="auto">
            <a:xfrm>
              <a:off x="5121" y="2970"/>
              <a:ext cx="467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 userDrawn="1"/>
          </p:nvSpPr>
          <p:spPr bwMode="auto">
            <a:xfrm>
              <a:off x="5418" y="2970"/>
              <a:ext cx="170" cy="156"/>
            </a:xfrm>
            <a:custGeom>
              <a:avLst/>
              <a:gdLst/>
              <a:ahLst/>
              <a:cxnLst>
                <a:cxn ang="0">
                  <a:pos x="79" y="3361"/>
                </a:cxn>
                <a:cxn ang="0">
                  <a:pos x="0" y="3674"/>
                </a:cxn>
                <a:cxn ang="0">
                  <a:pos x="97" y="3969"/>
                </a:cxn>
                <a:cxn ang="0">
                  <a:pos x="482" y="4508"/>
                </a:cxn>
                <a:cxn ang="0">
                  <a:pos x="850" y="4974"/>
                </a:cxn>
                <a:cxn ang="0">
                  <a:pos x="1191" y="5261"/>
                </a:cxn>
                <a:cxn ang="0">
                  <a:pos x="1656" y="5422"/>
                </a:cxn>
                <a:cxn ang="0">
                  <a:pos x="2310" y="5462"/>
                </a:cxn>
                <a:cxn ang="0">
                  <a:pos x="2993" y="5462"/>
                </a:cxn>
                <a:cxn ang="0">
                  <a:pos x="3650" y="5459"/>
                </a:cxn>
                <a:cxn ang="0">
                  <a:pos x="4228" y="5420"/>
                </a:cxn>
                <a:cxn ang="0">
                  <a:pos x="4750" y="5296"/>
                </a:cxn>
                <a:cxn ang="0">
                  <a:pos x="5221" y="5040"/>
                </a:cxn>
                <a:cxn ang="0">
                  <a:pos x="5625" y="4619"/>
                </a:cxn>
                <a:cxn ang="0">
                  <a:pos x="5856" y="4092"/>
                </a:cxn>
                <a:cxn ang="0">
                  <a:pos x="5949" y="3502"/>
                </a:cxn>
                <a:cxn ang="0">
                  <a:pos x="5965" y="2673"/>
                </a:cxn>
                <a:cxn ang="0">
                  <a:pos x="5953" y="1969"/>
                </a:cxn>
                <a:cxn ang="0">
                  <a:pos x="5900" y="1557"/>
                </a:cxn>
                <a:cxn ang="0">
                  <a:pos x="5817" y="1258"/>
                </a:cxn>
                <a:cxn ang="0">
                  <a:pos x="5711" y="1009"/>
                </a:cxn>
                <a:cxn ang="0">
                  <a:pos x="5577" y="788"/>
                </a:cxn>
                <a:cxn ang="0">
                  <a:pos x="5426" y="601"/>
                </a:cxn>
                <a:cxn ang="0">
                  <a:pos x="5222" y="427"/>
                </a:cxn>
                <a:cxn ang="0">
                  <a:pos x="4725" y="164"/>
                </a:cxn>
                <a:cxn ang="0">
                  <a:pos x="4192" y="42"/>
                </a:cxn>
                <a:cxn ang="0">
                  <a:pos x="3519" y="6"/>
                </a:cxn>
                <a:cxn ang="0">
                  <a:pos x="2584" y="6"/>
                </a:cxn>
                <a:cxn ang="0">
                  <a:pos x="1910" y="0"/>
                </a:cxn>
                <a:cxn ang="0">
                  <a:pos x="1516" y="50"/>
                </a:cxn>
                <a:cxn ang="0">
                  <a:pos x="1257" y="281"/>
                </a:cxn>
                <a:cxn ang="0">
                  <a:pos x="1189" y="819"/>
                </a:cxn>
                <a:cxn ang="0">
                  <a:pos x="1864" y="922"/>
                </a:cxn>
                <a:cxn ang="0">
                  <a:pos x="2796" y="916"/>
                </a:cxn>
                <a:cxn ang="0">
                  <a:pos x="3419" y="904"/>
                </a:cxn>
                <a:cxn ang="0">
                  <a:pos x="3778" y="949"/>
                </a:cxn>
                <a:cxn ang="0">
                  <a:pos x="4036" y="1119"/>
                </a:cxn>
                <a:cxn ang="0">
                  <a:pos x="4135" y="1424"/>
                </a:cxn>
                <a:cxn ang="0">
                  <a:pos x="4152" y="2297"/>
                </a:cxn>
                <a:cxn ang="0">
                  <a:pos x="4147" y="3711"/>
                </a:cxn>
                <a:cxn ang="0">
                  <a:pos x="4132" y="4095"/>
                </a:cxn>
                <a:cxn ang="0">
                  <a:pos x="4091" y="4254"/>
                </a:cxn>
                <a:cxn ang="0">
                  <a:pos x="4005" y="4389"/>
                </a:cxn>
                <a:cxn ang="0">
                  <a:pos x="3868" y="4485"/>
                </a:cxn>
                <a:cxn ang="0">
                  <a:pos x="3677" y="4536"/>
                </a:cxn>
                <a:cxn ang="0">
                  <a:pos x="3291" y="4549"/>
                </a:cxn>
                <a:cxn ang="0">
                  <a:pos x="2883" y="4549"/>
                </a:cxn>
                <a:cxn ang="0">
                  <a:pos x="2471" y="4549"/>
                </a:cxn>
                <a:cxn ang="0">
                  <a:pos x="2113" y="4531"/>
                </a:cxn>
                <a:cxn ang="0">
                  <a:pos x="1961" y="4478"/>
                </a:cxn>
                <a:cxn ang="0">
                  <a:pos x="1854" y="4369"/>
                </a:cxn>
                <a:cxn ang="0">
                  <a:pos x="1809" y="4203"/>
                </a:cxn>
                <a:cxn ang="0">
                  <a:pos x="1842" y="4039"/>
                </a:cxn>
                <a:cxn ang="0">
                  <a:pos x="2001" y="3781"/>
                </a:cxn>
                <a:cxn ang="0">
                  <a:pos x="3248" y="2121"/>
                </a:cxn>
                <a:cxn ang="0">
                  <a:pos x="3426" y="1883"/>
                </a:cxn>
              </a:cxnLst>
              <a:rect l="0" t="0" r="r" b="b"/>
              <a:pathLst>
                <a:path w="5966" h="5463">
                  <a:moveTo>
                    <a:pt x="308" y="3008"/>
                  </a:moveTo>
                  <a:lnTo>
                    <a:pt x="265" y="3065"/>
                  </a:lnTo>
                  <a:lnTo>
                    <a:pt x="226" y="3121"/>
                  </a:lnTo>
                  <a:lnTo>
                    <a:pt x="190" y="3173"/>
                  </a:lnTo>
                  <a:lnTo>
                    <a:pt x="157" y="3223"/>
                  </a:lnTo>
                  <a:lnTo>
                    <a:pt x="128" y="3271"/>
                  </a:lnTo>
                  <a:lnTo>
                    <a:pt x="102" y="3317"/>
                  </a:lnTo>
                  <a:lnTo>
                    <a:pt x="79" y="3361"/>
                  </a:lnTo>
                  <a:lnTo>
                    <a:pt x="58" y="3404"/>
                  </a:lnTo>
                  <a:lnTo>
                    <a:pt x="42" y="3446"/>
                  </a:lnTo>
                  <a:lnTo>
                    <a:pt x="28" y="3486"/>
                  </a:lnTo>
                  <a:lnTo>
                    <a:pt x="16" y="3525"/>
                  </a:lnTo>
                  <a:lnTo>
                    <a:pt x="8" y="3563"/>
                  </a:lnTo>
                  <a:lnTo>
                    <a:pt x="3" y="3601"/>
                  </a:lnTo>
                  <a:lnTo>
                    <a:pt x="0" y="3637"/>
                  </a:lnTo>
                  <a:lnTo>
                    <a:pt x="0" y="3674"/>
                  </a:lnTo>
                  <a:lnTo>
                    <a:pt x="3" y="3710"/>
                  </a:lnTo>
                  <a:lnTo>
                    <a:pt x="9" y="3746"/>
                  </a:lnTo>
                  <a:lnTo>
                    <a:pt x="17" y="3782"/>
                  </a:lnTo>
                  <a:lnTo>
                    <a:pt x="29" y="3819"/>
                  </a:lnTo>
                  <a:lnTo>
                    <a:pt x="42" y="3855"/>
                  </a:lnTo>
                  <a:lnTo>
                    <a:pt x="58" y="3892"/>
                  </a:lnTo>
                  <a:lnTo>
                    <a:pt x="77" y="3930"/>
                  </a:lnTo>
                  <a:lnTo>
                    <a:pt x="97" y="3969"/>
                  </a:lnTo>
                  <a:lnTo>
                    <a:pt x="121" y="4009"/>
                  </a:lnTo>
                  <a:lnTo>
                    <a:pt x="146" y="4050"/>
                  </a:lnTo>
                  <a:lnTo>
                    <a:pt x="175" y="4092"/>
                  </a:lnTo>
                  <a:lnTo>
                    <a:pt x="204" y="4136"/>
                  </a:lnTo>
                  <a:lnTo>
                    <a:pt x="237" y="4182"/>
                  </a:lnTo>
                  <a:lnTo>
                    <a:pt x="309" y="4279"/>
                  </a:lnTo>
                  <a:lnTo>
                    <a:pt x="389" y="4385"/>
                  </a:lnTo>
                  <a:lnTo>
                    <a:pt x="482" y="4508"/>
                  </a:lnTo>
                  <a:lnTo>
                    <a:pt x="570" y="4625"/>
                  </a:lnTo>
                  <a:lnTo>
                    <a:pt x="611" y="4680"/>
                  </a:lnTo>
                  <a:lnTo>
                    <a:pt x="652" y="4735"/>
                  </a:lnTo>
                  <a:lnTo>
                    <a:pt x="693" y="4786"/>
                  </a:lnTo>
                  <a:lnTo>
                    <a:pt x="732" y="4836"/>
                  </a:lnTo>
                  <a:lnTo>
                    <a:pt x="771" y="4884"/>
                  </a:lnTo>
                  <a:lnTo>
                    <a:pt x="810" y="4930"/>
                  </a:lnTo>
                  <a:lnTo>
                    <a:pt x="850" y="4974"/>
                  </a:lnTo>
                  <a:lnTo>
                    <a:pt x="889" y="5017"/>
                  </a:lnTo>
                  <a:lnTo>
                    <a:pt x="930" y="5057"/>
                  </a:lnTo>
                  <a:lnTo>
                    <a:pt x="971" y="5096"/>
                  </a:lnTo>
                  <a:lnTo>
                    <a:pt x="1011" y="5133"/>
                  </a:lnTo>
                  <a:lnTo>
                    <a:pt x="1054" y="5168"/>
                  </a:lnTo>
                  <a:lnTo>
                    <a:pt x="1098" y="5200"/>
                  </a:lnTo>
                  <a:lnTo>
                    <a:pt x="1144" y="5232"/>
                  </a:lnTo>
                  <a:lnTo>
                    <a:pt x="1191" y="5261"/>
                  </a:lnTo>
                  <a:lnTo>
                    <a:pt x="1241" y="5287"/>
                  </a:lnTo>
                  <a:lnTo>
                    <a:pt x="1292" y="5313"/>
                  </a:lnTo>
                  <a:lnTo>
                    <a:pt x="1345" y="5336"/>
                  </a:lnTo>
                  <a:lnTo>
                    <a:pt x="1402" y="5357"/>
                  </a:lnTo>
                  <a:lnTo>
                    <a:pt x="1461" y="5376"/>
                  </a:lnTo>
                  <a:lnTo>
                    <a:pt x="1523" y="5394"/>
                  </a:lnTo>
                  <a:lnTo>
                    <a:pt x="1588" y="5409"/>
                  </a:lnTo>
                  <a:lnTo>
                    <a:pt x="1656" y="5422"/>
                  </a:lnTo>
                  <a:lnTo>
                    <a:pt x="1729" y="5434"/>
                  </a:lnTo>
                  <a:lnTo>
                    <a:pt x="1804" y="5443"/>
                  </a:lnTo>
                  <a:lnTo>
                    <a:pt x="1883" y="5450"/>
                  </a:lnTo>
                  <a:lnTo>
                    <a:pt x="1967" y="5455"/>
                  </a:lnTo>
                  <a:lnTo>
                    <a:pt x="2055" y="5458"/>
                  </a:lnTo>
                  <a:lnTo>
                    <a:pt x="2140" y="5460"/>
                  </a:lnTo>
                  <a:lnTo>
                    <a:pt x="2225" y="5461"/>
                  </a:lnTo>
                  <a:lnTo>
                    <a:pt x="2310" y="5462"/>
                  </a:lnTo>
                  <a:lnTo>
                    <a:pt x="2395" y="5463"/>
                  </a:lnTo>
                  <a:lnTo>
                    <a:pt x="2480" y="5463"/>
                  </a:lnTo>
                  <a:lnTo>
                    <a:pt x="2565" y="5463"/>
                  </a:lnTo>
                  <a:lnTo>
                    <a:pt x="2651" y="5463"/>
                  </a:lnTo>
                  <a:lnTo>
                    <a:pt x="2737" y="5463"/>
                  </a:lnTo>
                  <a:lnTo>
                    <a:pt x="2822" y="5463"/>
                  </a:lnTo>
                  <a:lnTo>
                    <a:pt x="2907" y="5462"/>
                  </a:lnTo>
                  <a:lnTo>
                    <a:pt x="2993" y="5462"/>
                  </a:lnTo>
                  <a:lnTo>
                    <a:pt x="3078" y="5462"/>
                  </a:lnTo>
                  <a:lnTo>
                    <a:pt x="3164" y="5461"/>
                  </a:lnTo>
                  <a:lnTo>
                    <a:pt x="3249" y="5461"/>
                  </a:lnTo>
                  <a:lnTo>
                    <a:pt x="3333" y="5461"/>
                  </a:lnTo>
                  <a:lnTo>
                    <a:pt x="3418" y="5461"/>
                  </a:lnTo>
                  <a:lnTo>
                    <a:pt x="3497" y="5460"/>
                  </a:lnTo>
                  <a:lnTo>
                    <a:pt x="3574" y="5460"/>
                  </a:lnTo>
                  <a:lnTo>
                    <a:pt x="3650" y="5459"/>
                  </a:lnTo>
                  <a:lnTo>
                    <a:pt x="3726" y="5457"/>
                  </a:lnTo>
                  <a:lnTo>
                    <a:pt x="3800" y="5455"/>
                  </a:lnTo>
                  <a:lnTo>
                    <a:pt x="3874" y="5451"/>
                  </a:lnTo>
                  <a:lnTo>
                    <a:pt x="3946" y="5447"/>
                  </a:lnTo>
                  <a:lnTo>
                    <a:pt x="4018" y="5442"/>
                  </a:lnTo>
                  <a:lnTo>
                    <a:pt x="4088" y="5436"/>
                  </a:lnTo>
                  <a:lnTo>
                    <a:pt x="4159" y="5429"/>
                  </a:lnTo>
                  <a:lnTo>
                    <a:pt x="4228" y="5420"/>
                  </a:lnTo>
                  <a:lnTo>
                    <a:pt x="4296" y="5410"/>
                  </a:lnTo>
                  <a:lnTo>
                    <a:pt x="4364" y="5399"/>
                  </a:lnTo>
                  <a:lnTo>
                    <a:pt x="4431" y="5387"/>
                  </a:lnTo>
                  <a:lnTo>
                    <a:pt x="4496" y="5372"/>
                  </a:lnTo>
                  <a:lnTo>
                    <a:pt x="4561" y="5356"/>
                  </a:lnTo>
                  <a:lnTo>
                    <a:pt x="4625" y="5337"/>
                  </a:lnTo>
                  <a:lnTo>
                    <a:pt x="4688" y="5318"/>
                  </a:lnTo>
                  <a:lnTo>
                    <a:pt x="4750" y="5296"/>
                  </a:lnTo>
                  <a:lnTo>
                    <a:pt x="4813" y="5272"/>
                  </a:lnTo>
                  <a:lnTo>
                    <a:pt x="4873" y="5246"/>
                  </a:lnTo>
                  <a:lnTo>
                    <a:pt x="4933" y="5218"/>
                  </a:lnTo>
                  <a:lnTo>
                    <a:pt x="4992" y="5187"/>
                  </a:lnTo>
                  <a:lnTo>
                    <a:pt x="5051" y="5154"/>
                  </a:lnTo>
                  <a:lnTo>
                    <a:pt x="5109" y="5118"/>
                  </a:lnTo>
                  <a:lnTo>
                    <a:pt x="5165" y="5081"/>
                  </a:lnTo>
                  <a:lnTo>
                    <a:pt x="5221" y="5040"/>
                  </a:lnTo>
                  <a:lnTo>
                    <a:pt x="5276" y="4996"/>
                  </a:lnTo>
                  <a:lnTo>
                    <a:pt x="5332" y="4950"/>
                  </a:lnTo>
                  <a:lnTo>
                    <a:pt x="5385" y="4900"/>
                  </a:lnTo>
                  <a:lnTo>
                    <a:pt x="5438" y="4847"/>
                  </a:lnTo>
                  <a:lnTo>
                    <a:pt x="5490" y="4792"/>
                  </a:lnTo>
                  <a:lnTo>
                    <a:pt x="5538" y="4736"/>
                  </a:lnTo>
                  <a:lnTo>
                    <a:pt x="5583" y="4678"/>
                  </a:lnTo>
                  <a:lnTo>
                    <a:pt x="5625" y="4619"/>
                  </a:lnTo>
                  <a:lnTo>
                    <a:pt x="5663" y="4558"/>
                  </a:lnTo>
                  <a:lnTo>
                    <a:pt x="5698" y="4495"/>
                  </a:lnTo>
                  <a:lnTo>
                    <a:pt x="5731" y="4432"/>
                  </a:lnTo>
                  <a:lnTo>
                    <a:pt x="5761" y="4366"/>
                  </a:lnTo>
                  <a:lnTo>
                    <a:pt x="5788" y="4299"/>
                  </a:lnTo>
                  <a:lnTo>
                    <a:pt x="5813" y="4231"/>
                  </a:lnTo>
                  <a:lnTo>
                    <a:pt x="5835" y="4161"/>
                  </a:lnTo>
                  <a:lnTo>
                    <a:pt x="5856" y="4092"/>
                  </a:lnTo>
                  <a:lnTo>
                    <a:pt x="5873" y="4020"/>
                  </a:lnTo>
                  <a:lnTo>
                    <a:pt x="5889" y="3949"/>
                  </a:lnTo>
                  <a:lnTo>
                    <a:pt x="5904" y="3875"/>
                  </a:lnTo>
                  <a:lnTo>
                    <a:pt x="5916" y="3802"/>
                  </a:lnTo>
                  <a:lnTo>
                    <a:pt x="5926" y="3728"/>
                  </a:lnTo>
                  <a:lnTo>
                    <a:pt x="5935" y="3653"/>
                  </a:lnTo>
                  <a:lnTo>
                    <a:pt x="5943" y="3578"/>
                  </a:lnTo>
                  <a:lnTo>
                    <a:pt x="5949" y="3502"/>
                  </a:lnTo>
                  <a:lnTo>
                    <a:pt x="5954" y="3427"/>
                  </a:lnTo>
                  <a:lnTo>
                    <a:pt x="5958" y="3351"/>
                  </a:lnTo>
                  <a:lnTo>
                    <a:pt x="5961" y="3274"/>
                  </a:lnTo>
                  <a:lnTo>
                    <a:pt x="5963" y="3198"/>
                  </a:lnTo>
                  <a:lnTo>
                    <a:pt x="5965" y="3123"/>
                  </a:lnTo>
                  <a:lnTo>
                    <a:pt x="5966" y="2971"/>
                  </a:lnTo>
                  <a:lnTo>
                    <a:pt x="5966" y="2821"/>
                  </a:lnTo>
                  <a:lnTo>
                    <a:pt x="5965" y="2673"/>
                  </a:lnTo>
                  <a:lnTo>
                    <a:pt x="5964" y="2528"/>
                  </a:lnTo>
                  <a:lnTo>
                    <a:pt x="5964" y="2444"/>
                  </a:lnTo>
                  <a:lnTo>
                    <a:pt x="5964" y="2361"/>
                  </a:lnTo>
                  <a:lnTo>
                    <a:pt x="5964" y="2280"/>
                  </a:lnTo>
                  <a:lnTo>
                    <a:pt x="5962" y="2200"/>
                  </a:lnTo>
                  <a:lnTo>
                    <a:pt x="5960" y="2123"/>
                  </a:lnTo>
                  <a:lnTo>
                    <a:pt x="5958" y="2045"/>
                  </a:lnTo>
                  <a:lnTo>
                    <a:pt x="5953" y="1969"/>
                  </a:lnTo>
                  <a:lnTo>
                    <a:pt x="5948" y="1893"/>
                  </a:lnTo>
                  <a:lnTo>
                    <a:pt x="5940" y="1819"/>
                  </a:lnTo>
                  <a:lnTo>
                    <a:pt x="5931" y="1744"/>
                  </a:lnTo>
                  <a:lnTo>
                    <a:pt x="5926" y="1706"/>
                  </a:lnTo>
                  <a:lnTo>
                    <a:pt x="5921" y="1669"/>
                  </a:lnTo>
                  <a:lnTo>
                    <a:pt x="5914" y="1631"/>
                  </a:lnTo>
                  <a:lnTo>
                    <a:pt x="5908" y="1595"/>
                  </a:lnTo>
                  <a:lnTo>
                    <a:pt x="5900" y="1557"/>
                  </a:lnTo>
                  <a:lnTo>
                    <a:pt x="5891" y="1519"/>
                  </a:lnTo>
                  <a:lnTo>
                    <a:pt x="5883" y="1482"/>
                  </a:lnTo>
                  <a:lnTo>
                    <a:pt x="5874" y="1444"/>
                  </a:lnTo>
                  <a:lnTo>
                    <a:pt x="5864" y="1406"/>
                  </a:lnTo>
                  <a:lnTo>
                    <a:pt x="5853" y="1367"/>
                  </a:lnTo>
                  <a:lnTo>
                    <a:pt x="5841" y="1329"/>
                  </a:lnTo>
                  <a:lnTo>
                    <a:pt x="5828" y="1291"/>
                  </a:lnTo>
                  <a:lnTo>
                    <a:pt x="5817" y="1258"/>
                  </a:lnTo>
                  <a:lnTo>
                    <a:pt x="5806" y="1226"/>
                  </a:lnTo>
                  <a:lnTo>
                    <a:pt x="5793" y="1193"/>
                  </a:lnTo>
                  <a:lnTo>
                    <a:pt x="5781" y="1162"/>
                  </a:lnTo>
                  <a:lnTo>
                    <a:pt x="5768" y="1131"/>
                  </a:lnTo>
                  <a:lnTo>
                    <a:pt x="5754" y="1099"/>
                  </a:lnTo>
                  <a:lnTo>
                    <a:pt x="5739" y="1069"/>
                  </a:lnTo>
                  <a:lnTo>
                    <a:pt x="5725" y="1039"/>
                  </a:lnTo>
                  <a:lnTo>
                    <a:pt x="5711" y="1009"/>
                  </a:lnTo>
                  <a:lnTo>
                    <a:pt x="5695" y="979"/>
                  </a:lnTo>
                  <a:lnTo>
                    <a:pt x="5679" y="951"/>
                  </a:lnTo>
                  <a:lnTo>
                    <a:pt x="5663" y="922"/>
                  </a:lnTo>
                  <a:lnTo>
                    <a:pt x="5646" y="895"/>
                  </a:lnTo>
                  <a:lnTo>
                    <a:pt x="5630" y="867"/>
                  </a:lnTo>
                  <a:lnTo>
                    <a:pt x="5613" y="840"/>
                  </a:lnTo>
                  <a:lnTo>
                    <a:pt x="5595" y="814"/>
                  </a:lnTo>
                  <a:lnTo>
                    <a:pt x="5577" y="788"/>
                  </a:lnTo>
                  <a:lnTo>
                    <a:pt x="5559" y="762"/>
                  </a:lnTo>
                  <a:lnTo>
                    <a:pt x="5541" y="738"/>
                  </a:lnTo>
                  <a:lnTo>
                    <a:pt x="5522" y="713"/>
                  </a:lnTo>
                  <a:lnTo>
                    <a:pt x="5503" y="690"/>
                  </a:lnTo>
                  <a:lnTo>
                    <a:pt x="5484" y="666"/>
                  </a:lnTo>
                  <a:lnTo>
                    <a:pt x="5464" y="644"/>
                  </a:lnTo>
                  <a:lnTo>
                    <a:pt x="5445" y="622"/>
                  </a:lnTo>
                  <a:lnTo>
                    <a:pt x="5426" y="601"/>
                  </a:lnTo>
                  <a:lnTo>
                    <a:pt x="5405" y="580"/>
                  </a:lnTo>
                  <a:lnTo>
                    <a:pt x="5386" y="561"/>
                  </a:lnTo>
                  <a:lnTo>
                    <a:pt x="5365" y="541"/>
                  </a:lnTo>
                  <a:lnTo>
                    <a:pt x="5345" y="523"/>
                  </a:lnTo>
                  <a:lnTo>
                    <a:pt x="5324" y="506"/>
                  </a:lnTo>
                  <a:lnTo>
                    <a:pt x="5304" y="488"/>
                  </a:lnTo>
                  <a:lnTo>
                    <a:pt x="5284" y="472"/>
                  </a:lnTo>
                  <a:lnTo>
                    <a:pt x="5222" y="427"/>
                  </a:lnTo>
                  <a:lnTo>
                    <a:pt x="5162" y="384"/>
                  </a:lnTo>
                  <a:lnTo>
                    <a:pt x="5101" y="345"/>
                  </a:lnTo>
                  <a:lnTo>
                    <a:pt x="5038" y="308"/>
                  </a:lnTo>
                  <a:lnTo>
                    <a:pt x="4977" y="274"/>
                  </a:lnTo>
                  <a:lnTo>
                    <a:pt x="4915" y="243"/>
                  </a:lnTo>
                  <a:lnTo>
                    <a:pt x="4852" y="214"/>
                  </a:lnTo>
                  <a:lnTo>
                    <a:pt x="4789" y="187"/>
                  </a:lnTo>
                  <a:lnTo>
                    <a:pt x="4725" y="164"/>
                  </a:lnTo>
                  <a:lnTo>
                    <a:pt x="4661" y="142"/>
                  </a:lnTo>
                  <a:lnTo>
                    <a:pt x="4596" y="122"/>
                  </a:lnTo>
                  <a:lnTo>
                    <a:pt x="4531" y="104"/>
                  </a:lnTo>
                  <a:lnTo>
                    <a:pt x="4464" y="89"/>
                  </a:lnTo>
                  <a:lnTo>
                    <a:pt x="4397" y="75"/>
                  </a:lnTo>
                  <a:lnTo>
                    <a:pt x="4329" y="62"/>
                  </a:lnTo>
                  <a:lnTo>
                    <a:pt x="4261" y="51"/>
                  </a:lnTo>
                  <a:lnTo>
                    <a:pt x="4192" y="42"/>
                  </a:lnTo>
                  <a:lnTo>
                    <a:pt x="4121" y="34"/>
                  </a:lnTo>
                  <a:lnTo>
                    <a:pt x="4050" y="28"/>
                  </a:lnTo>
                  <a:lnTo>
                    <a:pt x="3977" y="21"/>
                  </a:lnTo>
                  <a:lnTo>
                    <a:pt x="3903" y="17"/>
                  </a:lnTo>
                  <a:lnTo>
                    <a:pt x="3830" y="13"/>
                  </a:lnTo>
                  <a:lnTo>
                    <a:pt x="3753" y="10"/>
                  </a:lnTo>
                  <a:lnTo>
                    <a:pt x="3677" y="8"/>
                  </a:lnTo>
                  <a:lnTo>
                    <a:pt x="3519" y="6"/>
                  </a:lnTo>
                  <a:lnTo>
                    <a:pt x="3357" y="6"/>
                  </a:lnTo>
                  <a:lnTo>
                    <a:pt x="3188" y="6"/>
                  </a:lnTo>
                  <a:lnTo>
                    <a:pt x="3014" y="6"/>
                  </a:lnTo>
                  <a:lnTo>
                    <a:pt x="2928" y="6"/>
                  </a:lnTo>
                  <a:lnTo>
                    <a:pt x="2842" y="6"/>
                  </a:lnTo>
                  <a:lnTo>
                    <a:pt x="2755" y="6"/>
                  </a:lnTo>
                  <a:lnTo>
                    <a:pt x="2669" y="6"/>
                  </a:lnTo>
                  <a:lnTo>
                    <a:pt x="2584" y="6"/>
                  </a:lnTo>
                  <a:lnTo>
                    <a:pt x="2498" y="6"/>
                  </a:lnTo>
                  <a:lnTo>
                    <a:pt x="2411" y="6"/>
                  </a:lnTo>
                  <a:lnTo>
                    <a:pt x="2325" y="6"/>
                  </a:lnTo>
                  <a:lnTo>
                    <a:pt x="2203" y="5"/>
                  </a:lnTo>
                  <a:lnTo>
                    <a:pt x="2083" y="2"/>
                  </a:lnTo>
                  <a:lnTo>
                    <a:pt x="2025" y="1"/>
                  </a:lnTo>
                  <a:lnTo>
                    <a:pt x="1967" y="0"/>
                  </a:lnTo>
                  <a:lnTo>
                    <a:pt x="1910" y="0"/>
                  </a:lnTo>
                  <a:lnTo>
                    <a:pt x="1855" y="1"/>
                  </a:lnTo>
                  <a:lnTo>
                    <a:pt x="1802" y="2"/>
                  </a:lnTo>
                  <a:lnTo>
                    <a:pt x="1750" y="5"/>
                  </a:lnTo>
                  <a:lnTo>
                    <a:pt x="1700" y="10"/>
                  </a:lnTo>
                  <a:lnTo>
                    <a:pt x="1651" y="16"/>
                  </a:lnTo>
                  <a:lnTo>
                    <a:pt x="1604" y="26"/>
                  </a:lnTo>
                  <a:lnTo>
                    <a:pt x="1559" y="37"/>
                  </a:lnTo>
                  <a:lnTo>
                    <a:pt x="1516" y="50"/>
                  </a:lnTo>
                  <a:lnTo>
                    <a:pt x="1475" y="67"/>
                  </a:lnTo>
                  <a:lnTo>
                    <a:pt x="1436" y="86"/>
                  </a:lnTo>
                  <a:lnTo>
                    <a:pt x="1400" y="108"/>
                  </a:lnTo>
                  <a:lnTo>
                    <a:pt x="1366" y="135"/>
                  </a:lnTo>
                  <a:lnTo>
                    <a:pt x="1334" y="166"/>
                  </a:lnTo>
                  <a:lnTo>
                    <a:pt x="1306" y="200"/>
                  </a:lnTo>
                  <a:lnTo>
                    <a:pt x="1280" y="238"/>
                  </a:lnTo>
                  <a:lnTo>
                    <a:pt x="1257" y="281"/>
                  </a:lnTo>
                  <a:lnTo>
                    <a:pt x="1237" y="330"/>
                  </a:lnTo>
                  <a:lnTo>
                    <a:pt x="1220" y="382"/>
                  </a:lnTo>
                  <a:lnTo>
                    <a:pt x="1207" y="440"/>
                  </a:lnTo>
                  <a:lnTo>
                    <a:pt x="1195" y="504"/>
                  </a:lnTo>
                  <a:lnTo>
                    <a:pt x="1189" y="573"/>
                  </a:lnTo>
                  <a:lnTo>
                    <a:pt x="1185" y="649"/>
                  </a:lnTo>
                  <a:lnTo>
                    <a:pt x="1185" y="730"/>
                  </a:lnTo>
                  <a:lnTo>
                    <a:pt x="1189" y="819"/>
                  </a:lnTo>
                  <a:lnTo>
                    <a:pt x="1196" y="913"/>
                  </a:lnTo>
                  <a:lnTo>
                    <a:pt x="1248" y="916"/>
                  </a:lnTo>
                  <a:lnTo>
                    <a:pt x="1319" y="919"/>
                  </a:lnTo>
                  <a:lnTo>
                    <a:pt x="1406" y="920"/>
                  </a:lnTo>
                  <a:lnTo>
                    <a:pt x="1506" y="921"/>
                  </a:lnTo>
                  <a:lnTo>
                    <a:pt x="1617" y="922"/>
                  </a:lnTo>
                  <a:lnTo>
                    <a:pt x="1738" y="922"/>
                  </a:lnTo>
                  <a:lnTo>
                    <a:pt x="1864" y="922"/>
                  </a:lnTo>
                  <a:lnTo>
                    <a:pt x="1994" y="922"/>
                  </a:lnTo>
                  <a:lnTo>
                    <a:pt x="2126" y="921"/>
                  </a:lnTo>
                  <a:lnTo>
                    <a:pt x="2256" y="920"/>
                  </a:lnTo>
                  <a:lnTo>
                    <a:pt x="2381" y="919"/>
                  </a:lnTo>
                  <a:lnTo>
                    <a:pt x="2501" y="918"/>
                  </a:lnTo>
                  <a:lnTo>
                    <a:pt x="2612" y="917"/>
                  </a:lnTo>
                  <a:lnTo>
                    <a:pt x="2711" y="917"/>
                  </a:lnTo>
                  <a:lnTo>
                    <a:pt x="2796" y="916"/>
                  </a:lnTo>
                  <a:lnTo>
                    <a:pt x="2866" y="916"/>
                  </a:lnTo>
                  <a:lnTo>
                    <a:pt x="2966" y="915"/>
                  </a:lnTo>
                  <a:lnTo>
                    <a:pt x="3068" y="912"/>
                  </a:lnTo>
                  <a:lnTo>
                    <a:pt x="3169" y="908"/>
                  </a:lnTo>
                  <a:lnTo>
                    <a:pt x="3271" y="905"/>
                  </a:lnTo>
                  <a:lnTo>
                    <a:pt x="3321" y="905"/>
                  </a:lnTo>
                  <a:lnTo>
                    <a:pt x="3370" y="904"/>
                  </a:lnTo>
                  <a:lnTo>
                    <a:pt x="3419" y="904"/>
                  </a:lnTo>
                  <a:lnTo>
                    <a:pt x="3467" y="906"/>
                  </a:lnTo>
                  <a:lnTo>
                    <a:pt x="3515" y="908"/>
                  </a:lnTo>
                  <a:lnTo>
                    <a:pt x="3562" y="911"/>
                  </a:lnTo>
                  <a:lnTo>
                    <a:pt x="3607" y="915"/>
                  </a:lnTo>
                  <a:lnTo>
                    <a:pt x="3652" y="921"/>
                  </a:lnTo>
                  <a:lnTo>
                    <a:pt x="3695" y="928"/>
                  </a:lnTo>
                  <a:lnTo>
                    <a:pt x="3737" y="938"/>
                  </a:lnTo>
                  <a:lnTo>
                    <a:pt x="3778" y="949"/>
                  </a:lnTo>
                  <a:lnTo>
                    <a:pt x="3817" y="962"/>
                  </a:lnTo>
                  <a:lnTo>
                    <a:pt x="3853" y="976"/>
                  </a:lnTo>
                  <a:lnTo>
                    <a:pt x="3889" y="994"/>
                  </a:lnTo>
                  <a:lnTo>
                    <a:pt x="3923" y="1013"/>
                  </a:lnTo>
                  <a:lnTo>
                    <a:pt x="3955" y="1036"/>
                  </a:lnTo>
                  <a:lnTo>
                    <a:pt x="3984" y="1060"/>
                  </a:lnTo>
                  <a:lnTo>
                    <a:pt x="4012" y="1088"/>
                  </a:lnTo>
                  <a:lnTo>
                    <a:pt x="4036" y="1119"/>
                  </a:lnTo>
                  <a:lnTo>
                    <a:pt x="4060" y="1152"/>
                  </a:lnTo>
                  <a:lnTo>
                    <a:pt x="4079" y="1189"/>
                  </a:lnTo>
                  <a:lnTo>
                    <a:pt x="4098" y="1230"/>
                  </a:lnTo>
                  <a:lnTo>
                    <a:pt x="4112" y="1274"/>
                  </a:lnTo>
                  <a:lnTo>
                    <a:pt x="4124" y="1321"/>
                  </a:lnTo>
                  <a:lnTo>
                    <a:pt x="4128" y="1346"/>
                  </a:lnTo>
                  <a:lnTo>
                    <a:pt x="4132" y="1381"/>
                  </a:lnTo>
                  <a:lnTo>
                    <a:pt x="4135" y="1424"/>
                  </a:lnTo>
                  <a:lnTo>
                    <a:pt x="4138" y="1474"/>
                  </a:lnTo>
                  <a:lnTo>
                    <a:pt x="4141" y="1532"/>
                  </a:lnTo>
                  <a:lnTo>
                    <a:pt x="4144" y="1598"/>
                  </a:lnTo>
                  <a:lnTo>
                    <a:pt x="4146" y="1669"/>
                  </a:lnTo>
                  <a:lnTo>
                    <a:pt x="4147" y="1746"/>
                  </a:lnTo>
                  <a:lnTo>
                    <a:pt x="4150" y="1916"/>
                  </a:lnTo>
                  <a:lnTo>
                    <a:pt x="4152" y="2100"/>
                  </a:lnTo>
                  <a:lnTo>
                    <a:pt x="4152" y="2297"/>
                  </a:lnTo>
                  <a:lnTo>
                    <a:pt x="4153" y="2499"/>
                  </a:lnTo>
                  <a:lnTo>
                    <a:pt x="4152" y="2704"/>
                  </a:lnTo>
                  <a:lnTo>
                    <a:pt x="4151" y="2906"/>
                  </a:lnTo>
                  <a:lnTo>
                    <a:pt x="4150" y="3100"/>
                  </a:lnTo>
                  <a:lnTo>
                    <a:pt x="4149" y="3282"/>
                  </a:lnTo>
                  <a:lnTo>
                    <a:pt x="4148" y="3448"/>
                  </a:lnTo>
                  <a:lnTo>
                    <a:pt x="4147" y="3592"/>
                  </a:lnTo>
                  <a:lnTo>
                    <a:pt x="4147" y="3711"/>
                  </a:lnTo>
                  <a:lnTo>
                    <a:pt x="4146" y="3798"/>
                  </a:lnTo>
                  <a:lnTo>
                    <a:pt x="4146" y="3846"/>
                  </a:lnTo>
                  <a:lnTo>
                    <a:pt x="4146" y="3893"/>
                  </a:lnTo>
                  <a:lnTo>
                    <a:pt x="4145" y="3940"/>
                  </a:lnTo>
                  <a:lnTo>
                    <a:pt x="4143" y="3985"/>
                  </a:lnTo>
                  <a:lnTo>
                    <a:pt x="4139" y="4030"/>
                  </a:lnTo>
                  <a:lnTo>
                    <a:pt x="4135" y="4073"/>
                  </a:lnTo>
                  <a:lnTo>
                    <a:pt x="4132" y="4095"/>
                  </a:lnTo>
                  <a:lnTo>
                    <a:pt x="4129" y="4116"/>
                  </a:lnTo>
                  <a:lnTo>
                    <a:pt x="4125" y="4137"/>
                  </a:lnTo>
                  <a:lnTo>
                    <a:pt x="4121" y="4157"/>
                  </a:lnTo>
                  <a:lnTo>
                    <a:pt x="4116" y="4177"/>
                  </a:lnTo>
                  <a:lnTo>
                    <a:pt x="4111" y="4197"/>
                  </a:lnTo>
                  <a:lnTo>
                    <a:pt x="4105" y="4217"/>
                  </a:lnTo>
                  <a:lnTo>
                    <a:pt x="4099" y="4235"/>
                  </a:lnTo>
                  <a:lnTo>
                    <a:pt x="4091" y="4254"/>
                  </a:lnTo>
                  <a:lnTo>
                    <a:pt x="4083" y="4272"/>
                  </a:lnTo>
                  <a:lnTo>
                    <a:pt x="4074" y="4290"/>
                  </a:lnTo>
                  <a:lnTo>
                    <a:pt x="4065" y="4308"/>
                  </a:lnTo>
                  <a:lnTo>
                    <a:pt x="4055" y="4325"/>
                  </a:lnTo>
                  <a:lnTo>
                    <a:pt x="4043" y="4342"/>
                  </a:lnTo>
                  <a:lnTo>
                    <a:pt x="4031" y="4358"/>
                  </a:lnTo>
                  <a:lnTo>
                    <a:pt x="4018" y="4373"/>
                  </a:lnTo>
                  <a:lnTo>
                    <a:pt x="4005" y="4389"/>
                  </a:lnTo>
                  <a:lnTo>
                    <a:pt x="3989" y="4404"/>
                  </a:lnTo>
                  <a:lnTo>
                    <a:pt x="3974" y="4418"/>
                  </a:lnTo>
                  <a:lnTo>
                    <a:pt x="3957" y="4432"/>
                  </a:lnTo>
                  <a:lnTo>
                    <a:pt x="3940" y="4444"/>
                  </a:lnTo>
                  <a:lnTo>
                    <a:pt x="3923" y="4456"/>
                  </a:lnTo>
                  <a:lnTo>
                    <a:pt x="3906" y="4466"/>
                  </a:lnTo>
                  <a:lnTo>
                    <a:pt x="3887" y="4477"/>
                  </a:lnTo>
                  <a:lnTo>
                    <a:pt x="3868" y="4485"/>
                  </a:lnTo>
                  <a:lnTo>
                    <a:pt x="3848" y="4493"/>
                  </a:lnTo>
                  <a:lnTo>
                    <a:pt x="3828" y="4501"/>
                  </a:lnTo>
                  <a:lnTo>
                    <a:pt x="3807" y="4507"/>
                  </a:lnTo>
                  <a:lnTo>
                    <a:pt x="3787" y="4515"/>
                  </a:lnTo>
                  <a:lnTo>
                    <a:pt x="3766" y="4520"/>
                  </a:lnTo>
                  <a:lnTo>
                    <a:pt x="3744" y="4525"/>
                  </a:lnTo>
                  <a:lnTo>
                    <a:pt x="3722" y="4529"/>
                  </a:lnTo>
                  <a:lnTo>
                    <a:pt x="3677" y="4536"/>
                  </a:lnTo>
                  <a:lnTo>
                    <a:pt x="3630" y="4542"/>
                  </a:lnTo>
                  <a:lnTo>
                    <a:pt x="3583" y="4545"/>
                  </a:lnTo>
                  <a:lnTo>
                    <a:pt x="3535" y="4548"/>
                  </a:lnTo>
                  <a:lnTo>
                    <a:pt x="3486" y="4549"/>
                  </a:lnTo>
                  <a:lnTo>
                    <a:pt x="3438" y="4550"/>
                  </a:lnTo>
                  <a:lnTo>
                    <a:pt x="3389" y="4550"/>
                  </a:lnTo>
                  <a:lnTo>
                    <a:pt x="3340" y="4549"/>
                  </a:lnTo>
                  <a:lnTo>
                    <a:pt x="3291" y="4549"/>
                  </a:lnTo>
                  <a:lnTo>
                    <a:pt x="3244" y="4549"/>
                  </a:lnTo>
                  <a:lnTo>
                    <a:pt x="3191" y="4549"/>
                  </a:lnTo>
                  <a:lnTo>
                    <a:pt x="3140" y="4549"/>
                  </a:lnTo>
                  <a:lnTo>
                    <a:pt x="3089" y="4549"/>
                  </a:lnTo>
                  <a:lnTo>
                    <a:pt x="3037" y="4549"/>
                  </a:lnTo>
                  <a:lnTo>
                    <a:pt x="2986" y="4549"/>
                  </a:lnTo>
                  <a:lnTo>
                    <a:pt x="2934" y="4549"/>
                  </a:lnTo>
                  <a:lnTo>
                    <a:pt x="2883" y="4549"/>
                  </a:lnTo>
                  <a:lnTo>
                    <a:pt x="2832" y="4549"/>
                  </a:lnTo>
                  <a:lnTo>
                    <a:pt x="2780" y="4549"/>
                  </a:lnTo>
                  <a:lnTo>
                    <a:pt x="2729" y="4549"/>
                  </a:lnTo>
                  <a:lnTo>
                    <a:pt x="2677" y="4549"/>
                  </a:lnTo>
                  <a:lnTo>
                    <a:pt x="2625" y="4549"/>
                  </a:lnTo>
                  <a:lnTo>
                    <a:pt x="2574" y="4549"/>
                  </a:lnTo>
                  <a:lnTo>
                    <a:pt x="2522" y="4549"/>
                  </a:lnTo>
                  <a:lnTo>
                    <a:pt x="2471" y="4549"/>
                  </a:lnTo>
                  <a:lnTo>
                    <a:pt x="2420" y="4549"/>
                  </a:lnTo>
                  <a:lnTo>
                    <a:pt x="2369" y="4549"/>
                  </a:lnTo>
                  <a:lnTo>
                    <a:pt x="2320" y="4548"/>
                  </a:lnTo>
                  <a:lnTo>
                    <a:pt x="2271" y="4547"/>
                  </a:lnTo>
                  <a:lnTo>
                    <a:pt x="2224" y="4544"/>
                  </a:lnTo>
                  <a:lnTo>
                    <a:pt x="2178" y="4540"/>
                  </a:lnTo>
                  <a:lnTo>
                    <a:pt x="2134" y="4534"/>
                  </a:lnTo>
                  <a:lnTo>
                    <a:pt x="2113" y="4531"/>
                  </a:lnTo>
                  <a:lnTo>
                    <a:pt x="2092" y="4527"/>
                  </a:lnTo>
                  <a:lnTo>
                    <a:pt x="2072" y="4522"/>
                  </a:lnTo>
                  <a:lnTo>
                    <a:pt x="2052" y="4517"/>
                  </a:lnTo>
                  <a:lnTo>
                    <a:pt x="2033" y="4510"/>
                  </a:lnTo>
                  <a:lnTo>
                    <a:pt x="2014" y="4503"/>
                  </a:lnTo>
                  <a:lnTo>
                    <a:pt x="1996" y="4496"/>
                  </a:lnTo>
                  <a:lnTo>
                    <a:pt x="1979" y="4487"/>
                  </a:lnTo>
                  <a:lnTo>
                    <a:pt x="1961" y="4478"/>
                  </a:lnTo>
                  <a:lnTo>
                    <a:pt x="1946" y="4467"/>
                  </a:lnTo>
                  <a:lnTo>
                    <a:pt x="1931" y="4457"/>
                  </a:lnTo>
                  <a:lnTo>
                    <a:pt x="1916" y="4445"/>
                  </a:lnTo>
                  <a:lnTo>
                    <a:pt x="1902" y="4432"/>
                  </a:lnTo>
                  <a:lnTo>
                    <a:pt x="1889" y="4418"/>
                  </a:lnTo>
                  <a:lnTo>
                    <a:pt x="1877" y="4403"/>
                  </a:lnTo>
                  <a:lnTo>
                    <a:pt x="1865" y="4387"/>
                  </a:lnTo>
                  <a:lnTo>
                    <a:pt x="1854" y="4369"/>
                  </a:lnTo>
                  <a:lnTo>
                    <a:pt x="1845" y="4351"/>
                  </a:lnTo>
                  <a:lnTo>
                    <a:pt x="1836" y="4331"/>
                  </a:lnTo>
                  <a:lnTo>
                    <a:pt x="1828" y="4310"/>
                  </a:lnTo>
                  <a:lnTo>
                    <a:pt x="1822" y="4288"/>
                  </a:lnTo>
                  <a:lnTo>
                    <a:pt x="1816" y="4267"/>
                  </a:lnTo>
                  <a:lnTo>
                    <a:pt x="1812" y="4245"/>
                  </a:lnTo>
                  <a:lnTo>
                    <a:pt x="1810" y="4225"/>
                  </a:lnTo>
                  <a:lnTo>
                    <a:pt x="1809" y="4203"/>
                  </a:lnTo>
                  <a:lnTo>
                    <a:pt x="1809" y="4182"/>
                  </a:lnTo>
                  <a:lnTo>
                    <a:pt x="1811" y="4161"/>
                  </a:lnTo>
                  <a:lnTo>
                    <a:pt x="1814" y="4140"/>
                  </a:lnTo>
                  <a:lnTo>
                    <a:pt x="1817" y="4119"/>
                  </a:lnTo>
                  <a:lnTo>
                    <a:pt x="1823" y="4099"/>
                  </a:lnTo>
                  <a:lnTo>
                    <a:pt x="1829" y="4079"/>
                  </a:lnTo>
                  <a:lnTo>
                    <a:pt x="1835" y="4058"/>
                  </a:lnTo>
                  <a:lnTo>
                    <a:pt x="1842" y="4039"/>
                  </a:lnTo>
                  <a:lnTo>
                    <a:pt x="1850" y="4019"/>
                  </a:lnTo>
                  <a:lnTo>
                    <a:pt x="1859" y="4000"/>
                  </a:lnTo>
                  <a:lnTo>
                    <a:pt x="1869" y="3980"/>
                  </a:lnTo>
                  <a:lnTo>
                    <a:pt x="1889" y="3943"/>
                  </a:lnTo>
                  <a:lnTo>
                    <a:pt x="1910" y="3908"/>
                  </a:lnTo>
                  <a:lnTo>
                    <a:pt x="1933" y="3874"/>
                  </a:lnTo>
                  <a:lnTo>
                    <a:pt x="1956" y="3841"/>
                  </a:lnTo>
                  <a:lnTo>
                    <a:pt x="2001" y="3781"/>
                  </a:lnTo>
                  <a:lnTo>
                    <a:pt x="2041" y="3730"/>
                  </a:lnTo>
                  <a:lnTo>
                    <a:pt x="3111" y="2301"/>
                  </a:lnTo>
                  <a:lnTo>
                    <a:pt x="3134" y="2270"/>
                  </a:lnTo>
                  <a:lnTo>
                    <a:pt x="3158" y="2239"/>
                  </a:lnTo>
                  <a:lnTo>
                    <a:pt x="3180" y="2210"/>
                  </a:lnTo>
                  <a:lnTo>
                    <a:pt x="3203" y="2180"/>
                  </a:lnTo>
                  <a:lnTo>
                    <a:pt x="3225" y="2150"/>
                  </a:lnTo>
                  <a:lnTo>
                    <a:pt x="3248" y="2121"/>
                  </a:lnTo>
                  <a:lnTo>
                    <a:pt x="3269" y="2091"/>
                  </a:lnTo>
                  <a:lnTo>
                    <a:pt x="3291" y="2061"/>
                  </a:lnTo>
                  <a:lnTo>
                    <a:pt x="3312" y="2033"/>
                  </a:lnTo>
                  <a:lnTo>
                    <a:pt x="3334" y="2004"/>
                  </a:lnTo>
                  <a:lnTo>
                    <a:pt x="3358" y="1974"/>
                  </a:lnTo>
                  <a:lnTo>
                    <a:pt x="3382" y="1944"/>
                  </a:lnTo>
                  <a:lnTo>
                    <a:pt x="3405" y="1913"/>
                  </a:lnTo>
                  <a:lnTo>
                    <a:pt x="3426" y="1883"/>
                  </a:lnTo>
                  <a:lnTo>
                    <a:pt x="3437" y="1868"/>
                  </a:lnTo>
                  <a:lnTo>
                    <a:pt x="3446" y="1852"/>
                  </a:lnTo>
                  <a:lnTo>
                    <a:pt x="3454" y="1838"/>
                  </a:lnTo>
                  <a:lnTo>
                    <a:pt x="3461" y="1823"/>
                  </a:lnTo>
                  <a:lnTo>
                    <a:pt x="1189" y="1825"/>
                  </a:lnTo>
                  <a:lnTo>
                    <a:pt x="308" y="300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" name="Freeform 11"/>
            <p:cNvSpPr>
              <a:spLocks/>
            </p:cNvSpPr>
            <p:nvPr userDrawn="1"/>
          </p:nvSpPr>
          <p:spPr bwMode="auto">
            <a:xfrm>
              <a:off x="5121" y="3022"/>
              <a:ext cx="196" cy="156"/>
            </a:xfrm>
            <a:custGeom>
              <a:avLst/>
              <a:gdLst/>
              <a:ahLst/>
              <a:cxnLst>
                <a:cxn ang="0">
                  <a:pos x="2720" y="5463"/>
                </a:cxn>
                <a:cxn ang="0">
                  <a:pos x="3040" y="915"/>
                </a:cxn>
                <a:cxn ang="0">
                  <a:pos x="3460" y="914"/>
                </a:cxn>
                <a:cxn ang="0">
                  <a:pos x="3880" y="916"/>
                </a:cxn>
                <a:cxn ang="0">
                  <a:pos x="4298" y="918"/>
                </a:cxn>
                <a:cxn ang="0">
                  <a:pos x="4646" y="922"/>
                </a:cxn>
                <a:cxn ang="0">
                  <a:pos x="4757" y="935"/>
                </a:cxn>
                <a:cxn ang="0">
                  <a:pos x="4839" y="957"/>
                </a:cxn>
                <a:cxn ang="0">
                  <a:pos x="4912" y="990"/>
                </a:cxn>
                <a:cxn ang="0">
                  <a:pos x="4972" y="1037"/>
                </a:cxn>
                <a:cxn ang="0">
                  <a:pos x="5020" y="1104"/>
                </a:cxn>
                <a:cxn ang="0">
                  <a:pos x="5053" y="1190"/>
                </a:cxn>
                <a:cxn ang="0">
                  <a:pos x="5063" y="1276"/>
                </a:cxn>
                <a:cxn ang="0">
                  <a:pos x="5052" y="1359"/>
                </a:cxn>
                <a:cxn ang="0">
                  <a:pos x="5026" y="1438"/>
                </a:cxn>
                <a:cxn ang="0">
                  <a:pos x="4989" y="1512"/>
                </a:cxn>
                <a:cxn ang="0">
                  <a:pos x="4889" y="1658"/>
                </a:cxn>
                <a:cxn ang="0">
                  <a:pos x="3727" y="3210"/>
                </a:cxn>
                <a:cxn ang="0">
                  <a:pos x="3640" y="3327"/>
                </a:cxn>
                <a:cxn ang="0">
                  <a:pos x="3551" y="3444"/>
                </a:cxn>
                <a:cxn ang="0">
                  <a:pos x="3444" y="3588"/>
                </a:cxn>
                <a:cxn ang="0">
                  <a:pos x="3412" y="3643"/>
                </a:cxn>
                <a:cxn ang="0">
                  <a:pos x="5684" y="3621"/>
                </a:cxn>
                <a:cxn ang="0">
                  <a:pos x="5828" y="3445"/>
                </a:cxn>
                <a:cxn ang="0">
                  <a:pos x="6062" y="3137"/>
                </a:cxn>
                <a:cxn ang="0">
                  <a:pos x="6267" y="2859"/>
                </a:cxn>
                <a:cxn ang="0">
                  <a:pos x="6360" y="2731"/>
                </a:cxn>
                <a:cxn ang="0">
                  <a:pos x="6443" y="2618"/>
                </a:cxn>
                <a:cxn ang="0">
                  <a:pos x="6540" y="2492"/>
                </a:cxn>
                <a:cxn ang="0">
                  <a:pos x="6676" y="2311"/>
                </a:cxn>
                <a:cxn ang="0">
                  <a:pos x="6754" y="2189"/>
                </a:cxn>
                <a:cxn ang="0">
                  <a:pos x="6806" y="2086"/>
                </a:cxn>
                <a:cxn ang="0">
                  <a:pos x="6843" y="1979"/>
                </a:cxn>
                <a:cxn ang="0">
                  <a:pos x="6864" y="1869"/>
                </a:cxn>
                <a:cxn ang="0">
                  <a:pos x="6863" y="1754"/>
                </a:cxn>
                <a:cxn ang="0">
                  <a:pos x="6837" y="1645"/>
                </a:cxn>
                <a:cxn ang="0">
                  <a:pos x="6784" y="1527"/>
                </a:cxn>
                <a:cxn ang="0">
                  <a:pos x="6710" y="1398"/>
                </a:cxn>
                <a:cxn ang="0">
                  <a:pos x="6547" y="1162"/>
                </a:cxn>
                <a:cxn ang="0">
                  <a:pos x="6357" y="913"/>
                </a:cxn>
                <a:cxn ang="0">
                  <a:pos x="6199" y="705"/>
                </a:cxn>
                <a:cxn ang="0">
                  <a:pos x="6039" y="511"/>
                </a:cxn>
                <a:cxn ang="0">
                  <a:pos x="5940" y="408"/>
                </a:cxn>
                <a:cxn ang="0">
                  <a:pos x="5834" y="314"/>
                </a:cxn>
                <a:cxn ang="0">
                  <a:pos x="5720" y="229"/>
                </a:cxn>
                <a:cxn ang="0">
                  <a:pos x="5596" y="157"/>
                </a:cxn>
                <a:cxn ang="0">
                  <a:pos x="5461" y="100"/>
                </a:cxn>
                <a:cxn ang="0">
                  <a:pos x="5315" y="60"/>
                </a:cxn>
                <a:cxn ang="0">
                  <a:pos x="5147" y="32"/>
                </a:cxn>
                <a:cxn ang="0">
                  <a:pos x="4912" y="11"/>
                </a:cxn>
                <a:cxn ang="0">
                  <a:pos x="4506" y="0"/>
                </a:cxn>
                <a:cxn ang="0">
                  <a:pos x="4105" y="4"/>
                </a:cxn>
                <a:cxn ang="0">
                  <a:pos x="676" y="6"/>
                </a:cxn>
                <a:cxn ang="0">
                  <a:pos x="441" y="24"/>
                </a:cxn>
                <a:cxn ang="0">
                  <a:pos x="268" y="75"/>
                </a:cxn>
                <a:cxn ang="0">
                  <a:pos x="147" y="155"/>
                </a:cxn>
                <a:cxn ang="0">
                  <a:pos x="69" y="263"/>
                </a:cxn>
                <a:cxn ang="0">
                  <a:pos x="25" y="395"/>
                </a:cxn>
                <a:cxn ang="0">
                  <a:pos x="5" y="549"/>
                </a:cxn>
                <a:cxn ang="0">
                  <a:pos x="0" y="723"/>
                </a:cxn>
              </a:cxnLst>
              <a:rect l="0" t="0" r="r" b="b"/>
              <a:pathLst>
                <a:path w="6866" h="5463">
                  <a:moveTo>
                    <a:pt x="0" y="916"/>
                  </a:moveTo>
                  <a:lnTo>
                    <a:pt x="904" y="918"/>
                  </a:lnTo>
                  <a:lnTo>
                    <a:pt x="909" y="5461"/>
                  </a:lnTo>
                  <a:lnTo>
                    <a:pt x="2720" y="5463"/>
                  </a:lnTo>
                  <a:lnTo>
                    <a:pt x="2726" y="919"/>
                  </a:lnTo>
                  <a:lnTo>
                    <a:pt x="2830" y="917"/>
                  </a:lnTo>
                  <a:lnTo>
                    <a:pt x="2935" y="916"/>
                  </a:lnTo>
                  <a:lnTo>
                    <a:pt x="3040" y="915"/>
                  </a:lnTo>
                  <a:lnTo>
                    <a:pt x="3144" y="914"/>
                  </a:lnTo>
                  <a:lnTo>
                    <a:pt x="3250" y="914"/>
                  </a:lnTo>
                  <a:lnTo>
                    <a:pt x="3355" y="914"/>
                  </a:lnTo>
                  <a:lnTo>
                    <a:pt x="3460" y="914"/>
                  </a:lnTo>
                  <a:lnTo>
                    <a:pt x="3565" y="915"/>
                  </a:lnTo>
                  <a:lnTo>
                    <a:pt x="3669" y="915"/>
                  </a:lnTo>
                  <a:lnTo>
                    <a:pt x="3775" y="916"/>
                  </a:lnTo>
                  <a:lnTo>
                    <a:pt x="3880" y="916"/>
                  </a:lnTo>
                  <a:lnTo>
                    <a:pt x="3984" y="917"/>
                  </a:lnTo>
                  <a:lnTo>
                    <a:pt x="4089" y="917"/>
                  </a:lnTo>
                  <a:lnTo>
                    <a:pt x="4194" y="918"/>
                  </a:lnTo>
                  <a:lnTo>
                    <a:pt x="4298" y="918"/>
                  </a:lnTo>
                  <a:lnTo>
                    <a:pt x="4402" y="918"/>
                  </a:lnTo>
                  <a:lnTo>
                    <a:pt x="4501" y="918"/>
                  </a:lnTo>
                  <a:lnTo>
                    <a:pt x="4599" y="920"/>
                  </a:lnTo>
                  <a:lnTo>
                    <a:pt x="4646" y="922"/>
                  </a:lnTo>
                  <a:lnTo>
                    <a:pt x="4692" y="926"/>
                  </a:lnTo>
                  <a:lnTo>
                    <a:pt x="4715" y="929"/>
                  </a:lnTo>
                  <a:lnTo>
                    <a:pt x="4736" y="932"/>
                  </a:lnTo>
                  <a:lnTo>
                    <a:pt x="4757" y="935"/>
                  </a:lnTo>
                  <a:lnTo>
                    <a:pt x="4779" y="940"/>
                  </a:lnTo>
                  <a:lnTo>
                    <a:pt x="4799" y="944"/>
                  </a:lnTo>
                  <a:lnTo>
                    <a:pt x="4820" y="950"/>
                  </a:lnTo>
                  <a:lnTo>
                    <a:pt x="4839" y="957"/>
                  </a:lnTo>
                  <a:lnTo>
                    <a:pt x="4859" y="964"/>
                  </a:lnTo>
                  <a:lnTo>
                    <a:pt x="4877" y="972"/>
                  </a:lnTo>
                  <a:lnTo>
                    <a:pt x="4894" y="980"/>
                  </a:lnTo>
                  <a:lnTo>
                    <a:pt x="4912" y="990"/>
                  </a:lnTo>
                  <a:lnTo>
                    <a:pt x="4928" y="1001"/>
                  </a:lnTo>
                  <a:lnTo>
                    <a:pt x="4943" y="1012"/>
                  </a:lnTo>
                  <a:lnTo>
                    <a:pt x="4959" y="1024"/>
                  </a:lnTo>
                  <a:lnTo>
                    <a:pt x="4972" y="1037"/>
                  </a:lnTo>
                  <a:lnTo>
                    <a:pt x="4985" y="1053"/>
                  </a:lnTo>
                  <a:lnTo>
                    <a:pt x="4997" y="1068"/>
                  </a:lnTo>
                  <a:lnTo>
                    <a:pt x="5010" y="1086"/>
                  </a:lnTo>
                  <a:lnTo>
                    <a:pt x="5020" y="1104"/>
                  </a:lnTo>
                  <a:lnTo>
                    <a:pt x="5030" y="1123"/>
                  </a:lnTo>
                  <a:lnTo>
                    <a:pt x="5039" y="1145"/>
                  </a:lnTo>
                  <a:lnTo>
                    <a:pt x="5047" y="1167"/>
                  </a:lnTo>
                  <a:lnTo>
                    <a:pt x="5053" y="1190"/>
                  </a:lnTo>
                  <a:lnTo>
                    <a:pt x="5058" y="1211"/>
                  </a:lnTo>
                  <a:lnTo>
                    <a:pt x="5061" y="1233"/>
                  </a:lnTo>
                  <a:lnTo>
                    <a:pt x="5062" y="1254"/>
                  </a:lnTo>
                  <a:lnTo>
                    <a:pt x="5063" y="1276"/>
                  </a:lnTo>
                  <a:lnTo>
                    <a:pt x="5062" y="1297"/>
                  </a:lnTo>
                  <a:lnTo>
                    <a:pt x="5060" y="1318"/>
                  </a:lnTo>
                  <a:lnTo>
                    <a:pt x="5056" y="1338"/>
                  </a:lnTo>
                  <a:lnTo>
                    <a:pt x="5052" y="1359"/>
                  </a:lnTo>
                  <a:lnTo>
                    <a:pt x="5047" y="1379"/>
                  </a:lnTo>
                  <a:lnTo>
                    <a:pt x="5040" y="1399"/>
                  </a:lnTo>
                  <a:lnTo>
                    <a:pt x="5033" y="1418"/>
                  </a:lnTo>
                  <a:lnTo>
                    <a:pt x="5026" y="1438"/>
                  </a:lnTo>
                  <a:lnTo>
                    <a:pt x="5018" y="1457"/>
                  </a:lnTo>
                  <a:lnTo>
                    <a:pt x="5009" y="1476"/>
                  </a:lnTo>
                  <a:lnTo>
                    <a:pt x="5000" y="1494"/>
                  </a:lnTo>
                  <a:lnTo>
                    <a:pt x="4989" y="1512"/>
                  </a:lnTo>
                  <a:lnTo>
                    <a:pt x="4979" y="1530"/>
                  </a:lnTo>
                  <a:lnTo>
                    <a:pt x="4957" y="1565"/>
                  </a:lnTo>
                  <a:lnTo>
                    <a:pt x="4934" y="1597"/>
                  </a:lnTo>
                  <a:lnTo>
                    <a:pt x="4889" y="1658"/>
                  </a:lnTo>
                  <a:lnTo>
                    <a:pt x="4848" y="1712"/>
                  </a:lnTo>
                  <a:lnTo>
                    <a:pt x="3773" y="3149"/>
                  </a:lnTo>
                  <a:lnTo>
                    <a:pt x="3749" y="3180"/>
                  </a:lnTo>
                  <a:lnTo>
                    <a:pt x="3727" y="3210"/>
                  </a:lnTo>
                  <a:lnTo>
                    <a:pt x="3705" y="3239"/>
                  </a:lnTo>
                  <a:lnTo>
                    <a:pt x="3684" y="3268"/>
                  </a:lnTo>
                  <a:lnTo>
                    <a:pt x="3662" y="3297"/>
                  </a:lnTo>
                  <a:lnTo>
                    <a:pt x="3640" y="3327"/>
                  </a:lnTo>
                  <a:lnTo>
                    <a:pt x="3617" y="3357"/>
                  </a:lnTo>
                  <a:lnTo>
                    <a:pt x="3594" y="3389"/>
                  </a:lnTo>
                  <a:lnTo>
                    <a:pt x="3575" y="3413"/>
                  </a:lnTo>
                  <a:lnTo>
                    <a:pt x="3551" y="3444"/>
                  </a:lnTo>
                  <a:lnTo>
                    <a:pt x="3524" y="3478"/>
                  </a:lnTo>
                  <a:lnTo>
                    <a:pt x="3496" y="3515"/>
                  </a:lnTo>
                  <a:lnTo>
                    <a:pt x="3468" y="3553"/>
                  </a:lnTo>
                  <a:lnTo>
                    <a:pt x="3444" y="3588"/>
                  </a:lnTo>
                  <a:lnTo>
                    <a:pt x="3433" y="3604"/>
                  </a:lnTo>
                  <a:lnTo>
                    <a:pt x="3424" y="3619"/>
                  </a:lnTo>
                  <a:lnTo>
                    <a:pt x="3417" y="3632"/>
                  </a:lnTo>
                  <a:lnTo>
                    <a:pt x="3412" y="3643"/>
                  </a:lnTo>
                  <a:lnTo>
                    <a:pt x="5657" y="3644"/>
                  </a:lnTo>
                  <a:lnTo>
                    <a:pt x="5664" y="3640"/>
                  </a:lnTo>
                  <a:lnTo>
                    <a:pt x="5672" y="3633"/>
                  </a:lnTo>
                  <a:lnTo>
                    <a:pt x="5684" y="3621"/>
                  </a:lnTo>
                  <a:lnTo>
                    <a:pt x="5698" y="3605"/>
                  </a:lnTo>
                  <a:lnTo>
                    <a:pt x="5734" y="3563"/>
                  </a:lnTo>
                  <a:lnTo>
                    <a:pt x="5778" y="3509"/>
                  </a:lnTo>
                  <a:lnTo>
                    <a:pt x="5828" y="3445"/>
                  </a:lnTo>
                  <a:lnTo>
                    <a:pt x="5883" y="3373"/>
                  </a:lnTo>
                  <a:lnTo>
                    <a:pt x="5942" y="3296"/>
                  </a:lnTo>
                  <a:lnTo>
                    <a:pt x="6002" y="3216"/>
                  </a:lnTo>
                  <a:lnTo>
                    <a:pt x="6062" y="3137"/>
                  </a:lnTo>
                  <a:lnTo>
                    <a:pt x="6120" y="3059"/>
                  </a:lnTo>
                  <a:lnTo>
                    <a:pt x="6174" y="2985"/>
                  </a:lnTo>
                  <a:lnTo>
                    <a:pt x="6224" y="2918"/>
                  </a:lnTo>
                  <a:lnTo>
                    <a:pt x="6267" y="2859"/>
                  </a:lnTo>
                  <a:lnTo>
                    <a:pt x="6302" y="2811"/>
                  </a:lnTo>
                  <a:lnTo>
                    <a:pt x="6327" y="2777"/>
                  </a:lnTo>
                  <a:lnTo>
                    <a:pt x="6340" y="2759"/>
                  </a:lnTo>
                  <a:lnTo>
                    <a:pt x="6360" y="2731"/>
                  </a:lnTo>
                  <a:lnTo>
                    <a:pt x="6380" y="2704"/>
                  </a:lnTo>
                  <a:lnTo>
                    <a:pt x="6401" y="2675"/>
                  </a:lnTo>
                  <a:lnTo>
                    <a:pt x="6422" y="2646"/>
                  </a:lnTo>
                  <a:lnTo>
                    <a:pt x="6443" y="2618"/>
                  </a:lnTo>
                  <a:lnTo>
                    <a:pt x="6464" y="2589"/>
                  </a:lnTo>
                  <a:lnTo>
                    <a:pt x="6485" y="2561"/>
                  </a:lnTo>
                  <a:lnTo>
                    <a:pt x="6506" y="2534"/>
                  </a:lnTo>
                  <a:lnTo>
                    <a:pt x="6540" y="2492"/>
                  </a:lnTo>
                  <a:lnTo>
                    <a:pt x="6574" y="2448"/>
                  </a:lnTo>
                  <a:lnTo>
                    <a:pt x="6608" y="2404"/>
                  </a:lnTo>
                  <a:lnTo>
                    <a:pt x="6642" y="2358"/>
                  </a:lnTo>
                  <a:lnTo>
                    <a:pt x="6676" y="2311"/>
                  </a:lnTo>
                  <a:lnTo>
                    <a:pt x="6709" y="2263"/>
                  </a:lnTo>
                  <a:lnTo>
                    <a:pt x="6724" y="2238"/>
                  </a:lnTo>
                  <a:lnTo>
                    <a:pt x="6739" y="2213"/>
                  </a:lnTo>
                  <a:lnTo>
                    <a:pt x="6754" y="2189"/>
                  </a:lnTo>
                  <a:lnTo>
                    <a:pt x="6768" y="2163"/>
                  </a:lnTo>
                  <a:lnTo>
                    <a:pt x="6781" y="2138"/>
                  </a:lnTo>
                  <a:lnTo>
                    <a:pt x="6793" y="2112"/>
                  </a:lnTo>
                  <a:lnTo>
                    <a:pt x="6806" y="2086"/>
                  </a:lnTo>
                  <a:lnTo>
                    <a:pt x="6817" y="2060"/>
                  </a:lnTo>
                  <a:lnTo>
                    <a:pt x="6826" y="2033"/>
                  </a:lnTo>
                  <a:lnTo>
                    <a:pt x="6835" y="2006"/>
                  </a:lnTo>
                  <a:lnTo>
                    <a:pt x="6843" y="1979"/>
                  </a:lnTo>
                  <a:lnTo>
                    <a:pt x="6851" y="1951"/>
                  </a:lnTo>
                  <a:lnTo>
                    <a:pt x="6857" y="1924"/>
                  </a:lnTo>
                  <a:lnTo>
                    <a:pt x="6861" y="1896"/>
                  </a:lnTo>
                  <a:lnTo>
                    <a:pt x="6864" y="1869"/>
                  </a:lnTo>
                  <a:lnTo>
                    <a:pt x="6866" y="1840"/>
                  </a:lnTo>
                  <a:lnTo>
                    <a:pt x="6866" y="1811"/>
                  </a:lnTo>
                  <a:lnTo>
                    <a:pt x="6865" y="1783"/>
                  </a:lnTo>
                  <a:lnTo>
                    <a:pt x="6863" y="1754"/>
                  </a:lnTo>
                  <a:lnTo>
                    <a:pt x="6859" y="1724"/>
                  </a:lnTo>
                  <a:lnTo>
                    <a:pt x="6854" y="1700"/>
                  </a:lnTo>
                  <a:lnTo>
                    <a:pt x="6847" y="1673"/>
                  </a:lnTo>
                  <a:lnTo>
                    <a:pt x="6837" y="1645"/>
                  </a:lnTo>
                  <a:lnTo>
                    <a:pt x="6826" y="1617"/>
                  </a:lnTo>
                  <a:lnTo>
                    <a:pt x="6814" y="1588"/>
                  </a:lnTo>
                  <a:lnTo>
                    <a:pt x="6800" y="1557"/>
                  </a:lnTo>
                  <a:lnTo>
                    <a:pt x="6784" y="1527"/>
                  </a:lnTo>
                  <a:lnTo>
                    <a:pt x="6767" y="1495"/>
                  </a:lnTo>
                  <a:lnTo>
                    <a:pt x="6748" y="1463"/>
                  </a:lnTo>
                  <a:lnTo>
                    <a:pt x="6730" y="1430"/>
                  </a:lnTo>
                  <a:lnTo>
                    <a:pt x="6710" y="1398"/>
                  </a:lnTo>
                  <a:lnTo>
                    <a:pt x="6688" y="1364"/>
                  </a:lnTo>
                  <a:lnTo>
                    <a:pt x="6643" y="1297"/>
                  </a:lnTo>
                  <a:lnTo>
                    <a:pt x="6596" y="1230"/>
                  </a:lnTo>
                  <a:lnTo>
                    <a:pt x="6547" y="1162"/>
                  </a:lnTo>
                  <a:lnTo>
                    <a:pt x="6498" y="1097"/>
                  </a:lnTo>
                  <a:lnTo>
                    <a:pt x="6450" y="1032"/>
                  </a:lnTo>
                  <a:lnTo>
                    <a:pt x="6402" y="971"/>
                  </a:lnTo>
                  <a:lnTo>
                    <a:pt x="6357" y="913"/>
                  </a:lnTo>
                  <a:lnTo>
                    <a:pt x="6314" y="857"/>
                  </a:lnTo>
                  <a:lnTo>
                    <a:pt x="6275" y="807"/>
                  </a:lnTo>
                  <a:lnTo>
                    <a:pt x="6242" y="762"/>
                  </a:lnTo>
                  <a:lnTo>
                    <a:pt x="6199" y="705"/>
                  </a:lnTo>
                  <a:lnTo>
                    <a:pt x="6155" y="649"/>
                  </a:lnTo>
                  <a:lnTo>
                    <a:pt x="6109" y="592"/>
                  </a:lnTo>
                  <a:lnTo>
                    <a:pt x="6063" y="538"/>
                  </a:lnTo>
                  <a:lnTo>
                    <a:pt x="6039" y="511"/>
                  </a:lnTo>
                  <a:lnTo>
                    <a:pt x="6015" y="485"/>
                  </a:lnTo>
                  <a:lnTo>
                    <a:pt x="5990" y="459"/>
                  </a:lnTo>
                  <a:lnTo>
                    <a:pt x="5966" y="434"/>
                  </a:lnTo>
                  <a:lnTo>
                    <a:pt x="5940" y="408"/>
                  </a:lnTo>
                  <a:lnTo>
                    <a:pt x="5914" y="383"/>
                  </a:lnTo>
                  <a:lnTo>
                    <a:pt x="5888" y="360"/>
                  </a:lnTo>
                  <a:lnTo>
                    <a:pt x="5861" y="336"/>
                  </a:lnTo>
                  <a:lnTo>
                    <a:pt x="5834" y="314"/>
                  </a:lnTo>
                  <a:lnTo>
                    <a:pt x="5807" y="291"/>
                  </a:lnTo>
                  <a:lnTo>
                    <a:pt x="5778" y="270"/>
                  </a:lnTo>
                  <a:lnTo>
                    <a:pt x="5749" y="249"/>
                  </a:lnTo>
                  <a:lnTo>
                    <a:pt x="5720" y="229"/>
                  </a:lnTo>
                  <a:lnTo>
                    <a:pt x="5689" y="211"/>
                  </a:lnTo>
                  <a:lnTo>
                    <a:pt x="5658" y="192"/>
                  </a:lnTo>
                  <a:lnTo>
                    <a:pt x="5628" y="174"/>
                  </a:lnTo>
                  <a:lnTo>
                    <a:pt x="5596" y="157"/>
                  </a:lnTo>
                  <a:lnTo>
                    <a:pt x="5563" y="142"/>
                  </a:lnTo>
                  <a:lnTo>
                    <a:pt x="5530" y="127"/>
                  </a:lnTo>
                  <a:lnTo>
                    <a:pt x="5496" y="113"/>
                  </a:lnTo>
                  <a:lnTo>
                    <a:pt x="5461" y="100"/>
                  </a:lnTo>
                  <a:lnTo>
                    <a:pt x="5427" y="89"/>
                  </a:lnTo>
                  <a:lnTo>
                    <a:pt x="5390" y="78"/>
                  </a:lnTo>
                  <a:lnTo>
                    <a:pt x="5353" y="68"/>
                  </a:lnTo>
                  <a:lnTo>
                    <a:pt x="5315" y="60"/>
                  </a:lnTo>
                  <a:lnTo>
                    <a:pt x="5274" y="52"/>
                  </a:lnTo>
                  <a:lnTo>
                    <a:pt x="5233" y="45"/>
                  </a:lnTo>
                  <a:lnTo>
                    <a:pt x="5191" y="38"/>
                  </a:lnTo>
                  <a:lnTo>
                    <a:pt x="5147" y="32"/>
                  </a:lnTo>
                  <a:lnTo>
                    <a:pt x="5102" y="26"/>
                  </a:lnTo>
                  <a:lnTo>
                    <a:pt x="5055" y="22"/>
                  </a:lnTo>
                  <a:lnTo>
                    <a:pt x="5008" y="18"/>
                  </a:lnTo>
                  <a:lnTo>
                    <a:pt x="4912" y="11"/>
                  </a:lnTo>
                  <a:lnTo>
                    <a:pt x="4813" y="6"/>
                  </a:lnTo>
                  <a:lnTo>
                    <a:pt x="4711" y="3"/>
                  </a:lnTo>
                  <a:lnTo>
                    <a:pt x="4609" y="1"/>
                  </a:lnTo>
                  <a:lnTo>
                    <a:pt x="4506" y="0"/>
                  </a:lnTo>
                  <a:lnTo>
                    <a:pt x="4404" y="1"/>
                  </a:lnTo>
                  <a:lnTo>
                    <a:pt x="4302" y="1"/>
                  </a:lnTo>
                  <a:lnTo>
                    <a:pt x="4203" y="2"/>
                  </a:lnTo>
                  <a:lnTo>
                    <a:pt x="4105" y="4"/>
                  </a:lnTo>
                  <a:lnTo>
                    <a:pt x="4011" y="5"/>
                  </a:lnTo>
                  <a:lnTo>
                    <a:pt x="3921" y="6"/>
                  </a:lnTo>
                  <a:lnTo>
                    <a:pt x="3835" y="6"/>
                  </a:lnTo>
                  <a:lnTo>
                    <a:pt x="676" y="6"/>
                  </a:lnTo>
                  <a:lnTo>
                    <a:pt x="611" y="8"/>
                  </a:lnTo>
                  <a:lnTo>
                    <a:pt x="551" y="11"/>
                  </a:lnTo>
                  <a:lnTo>
                    <a:pt x="493" y="17"/>
                  </a:lnTo>
                  <a:lnTo>
                    <a:pt x="441" y="24"/>
                  </a:lnTo>
                  <a:lnTo>
                    <a:pt x="392" y="34"/>
                  </a:lnTo>
                  <a:lnTo>
                    <a:pt x="347" y="46"/>
                  </a:lnTo>
                  <a:lnTo>
                    <a:pt x="305" y="60"/>
                  </a:lnTo>
                  <a:lnTo>
                    <a:pt x="268" y="75"/>
                  </a:lnTo>
                  <a:lnTo>
                    <a:pt x="233" y="93"/>
                  </a:lnTo>
                  <a:lnTo>
                    <a:pt x="201" y="111"/>
                  </a:lnTo>
                  <a:lnTo>
                    <a:pt x="173" y="133"/>
                  </a:lnTo>
                  <a:lnTo>
                    <a:pt x="147" y="155"/>
                  </a:lnTo>
                  <a:lnTo>
                    <a:pt x="124" y="180"/>
                  </a:lnTo>
                  <a:lnTo>
                    <a:pt x="103" y="205"/>
                  </a:lnTo>
                  <a:lnTo>
                    <a:pt x="85" y="233"/>
                  </a:lnTo>
                  <a:lnTo>
                    <a:pt x="69" y="263"/>
                  </a:lnTo>
                  <a:lnTo>
                    <a:pt x="55" y="293"/>
                  </a:lnTo>
                  <a:lnTo>
                    <a:pt x="43" y="326"/>
                  </a:lnTo>
                  <a:lnTo>
                    <a:pt x="34" y="360"/>
                  </a:lnTo>
                  <a:lnTo>
                    <a:pt x="25" y="395"/>
                  </a:lnTo>
                  <a:lnTo>
                    <a:pt x="18" y="432"/>
                  </a:lnTo>
                  <a:lnTo>
                    <a:pt x="12" y="469"/>
                  </a:lnTo>
                  <a:lnTo>
                    <a:pt x="8" y="508"/>
                  </a:lnTo>
                  <a:lnTo>
                    <a:pt x="5" y="549"/>
                  </a:lnTo>
                  <a:lnTo>
                    <a:pt x="3" y="591"/>
                  </a:lnTo>
                  <a:lnTo>
                    <a:pt x="1" y="634"/>
                  </a:lnTo>
                  <a:lnTo>
                    <a:pt x="0" y="678"/>
                  </a:lnTo>
                  <a:lnTo>
                    <a:pt x="0" y="723"/>
                  </a:lnTo>
                  <a:lnTo>
                    <a:pt x="0" y="817"/>
                  </a:lnTo>
                  <a:lnTo>
                    <a:pt x="0" y="916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" name="Freeform 12"/>
            <p:cNvSpPr>
              <a:spLocks/>
            </p:cNvSpPr>
            <p:nvPr userDrawn="1"/>
          </p:nvSpPr>
          <p:spPr bwMode="auto">
            <a:xfrm>
              <a:off x="5296" y="3022"/>
              <a:ext cx="143" cy="104"/>
            </a:xfrm>
            <a:custGeom>
              <a:avLst/>
              <a:gdLst/>
              <a:ahLst/>
              <a:cxnLst>
                <a:cxn ang="0">
                  <a:pos x="2992" y="2671"/>
                </a:cxn>
                <a:cxn ang="0">
                  <a:pos x="3075" y="2559"/>
                </a:cxn>
                <a:cxn ang="0">
                  <a:pos x="3160" y="2445"/>
                </a:cxn>
                <a:cxn ang="0">
                  <a:pos x="3245" y="2333"/>
                </a:cxn>
                <a:cxn ang="0">
                  <a:pos x="3329" y="2221"/>
                </a:cxn>
                <a:cxn ang="0">
                  <a:pos x="3414" y="2108"/>
                </a:cxn>
                <a:cxn ang="0">
                  <a:pos x="3498" y="1995"/>
                </a:cxn>
                <a:cxn ang="0">
                  <a:pos x="3583" y="1882"/>
                </a:cxn>
                <a:cxn ang="0">
                  <a:pos x="3669" y="1767"/>
                </a:cxn>
                <a:cxn ang="0">
                  <a:pos x="3754" y="1654"/>
                </a:cxn>
                <a:cxn ang="0">
                  <a:pos x="3839" y="1540"/>
                </a:cxn>
                <a:cxn ang="0">
                  <a:pos x="3924" y="1427"/>
                </a:cxn>
                <a:cxn ang="0">
                  <a:pos x="4009" y="1313"/>
                </a:cxn>
                <a:cxn ang="0">
                  <a:pos x="4094" y="1199"/>
                </a:cxn>
                <a:cxn ang="0">
                  <a:pos x="4180" y="1085"/>
                </a:cxn>
                <a:cxn ang="0">
                  <a:pos x="4265" y="970"/>
                </a:cxn>
                <a:cxn ang="0">
                  <a:pos x="4325" y="891"/>
                </a:cxn>
                <a:cxn ang="0">
                  <a:pos x="4389" y="805"/>
                </a:cxn>
                <a:cxn ang="0">
                  <a:pos x="4484" y="680"/>
                </a:cxn>
                <a:cxn ang="0">
                  <a:pos x="4596" y="530"/>
                </a:cxn>
                <a:cxn ang="0">
                  <a:pos x="4715" y="372"/>
                </a:cxn>
                <a:cxn ang="0">
                  <a:pos x="4824" y="224"/>
                </a:cxn>
                <a:cxn ang="0">
                  <a:pos x="4914" y="101"/>
                </a:cxn>
                <a:cxn ang="0">
                  <a:pos x="4970" y="20"/>
                </a:cxn>
                <a:cxn ang="0">
                  <a:pos x="2737" y="0"/>
                </a:cxn>
                <a:cxn ang="0">
                  <a:pos x="2722" y="11"/>
                </a:cxn>
                <a:cxn ang="0">
                  <a:pos x="2695" y="40"/>
                </a:cxn>
                <a:cxn ang="0">
                  <a:pos x="2615" y="138"/>
                </a:cxn>
                <a:cxn ang="0">
                  <a:pos x="2507" y="276"/>
                </a:cxn>
                <a:cxn ang="0">
                  <a:pos x="2388" y="435"/>
                </a:cxn>
                <a:cxn ang="0">
                  <a:pos x="2268" y="597"/>
                </a:cxn>
                <a:cxn ang="0">
                  <a:pos x="2162" y="740"/>
                </a:cxn>
                <a:cxn ang="0">
                  <a:pos x="2082" y="848"/>
                </a:cxn>
                <a:cxn ang="0">
                  <a:pos x="2043" y="901"/>
                </a:cxn>
                <a:cxn ang="0">
                  <a:pos x="1958" y="1015"/>
                </a:cxn>
                <a:cxn ang="0">
                  <a:pos x="1872" y="1130"/>
                </a:cxn>
                <a:cxn ang="0">
                  <a:pos x="1787" y="1243"/>
                </a:cxn>
                <a:cxn ang="0">
                  <a:pos x="1701" y="1357"/>
                </a:cxn>
                <a:cxn ang="0">
                  <a:pos x="1616" y="1471"/>
                </a:cxn>
                <a:cxn ang="0">
                  <a:pos x="1531" y="1585"/>
                </a:cxn>
                <a:cxn ang="0">
                  <a:pos x="1445" y="1699"/>
                </a:cxn>
                <a:cxn ang="0">
                  <a:pos x="1360" y="1812"/>
                </a:cxn>
                <a:cxn ang="0">
                  <a:pos x="314" y="3209"/>
                </a:cxn>
                <a:cxn ang="0">
                  <a:pos x="271" y="3267"/>
                </a:cxn>
                <a:cxn ang="0">
                  <a:pos x="228" y="3324"/>
                </a:cxn>
                <a:cxn ang="0">
                  <a:pos x="184" y="3382"/>
                </a:cxn>
                <a:cxn ang="0">
                  <a:pos x="145" y="3437"/>
                </a:cxn>
                <a:cxn ang="0">
                  <a:pos x="100" y="3494"/>
                </a:cxn>
                <a:cxn ang="0">
                  <a:pos x="53" y="3555"/>
                </a:cxn>
                <a:cxn ang="0">
                  <a:pos x="22" y="3598"/>
                </a:cxn>
                <a:cxn ang="0">
                  <a:pos x="7" y="3624"/>
                </a:cxn>
                <a:cxn ang="0">
                  <a:pos x="2269" y="3637"/>
                </a:cxn>
              </a:cxnLst>
              <a:rect l="0" t="0" r="r" b="b"/>
              <a:pathLst>
                <a:path w="4982" h="3637">
                  <a:moveTo>
                    <a:pt x="2949" y="2728"/>
                  </a:moveTo>
                  <a:lnTo>
                    <a:pt x="2992" y="2671"/>
                  </a:lnTo>
                  <a:lnTo>
                    <a:pt x="3033" y="2615"/>
                  </a:lnTo>
                  <a:lnTo>
                    <a:pt x="3075" y="2559"/>
                  </a:lnTo>
                  <a:lnTo>
                    <a:pt x="3118" y="2502"/>
                  </a:lnTo>
                  <a:lnTo>
                    <a:pt x="3160" y="2445"/>
                  </a:lnTo>
                  <a:lnTo>
                    <a:pt x="3202" y="2389"/>
                  </a:lnTo>
                  <a:lnTo>
                    <a:pt x="3245" y="2333"/>
                  </a:lnTo>
                  <a:lnTo>
                    <a:pt x="3287" y="2277"/>
                  </a:lnTo>
                  <a:lnTo>
                    <a:pt x="3329" y="2221"/>
                  </a:lnTo>
                  <a:lnTo>
                    <a:pt x="3372" y="2164"/>
                  </a:lnTo>
                  <a:lnTo>
                    <a:pt x="3414" y="2108"/>
                  </a:lnTo>
                  <a:lnTo>
                    <a:pt x="3455" y="2052"/>
                  </a:lnTo>
                  <a:lnTo>
                    <a:pt x="3498" y="1995"/>
                  </a:lnTo>
                  <a:lnTo>
                    <a:pt x="3541" y="1938"/>
                  </a:lnTo>
                  <a:lnTo>
                    <a:pt x="3583" y="1882"/>
                  </a:lnTo>
                  <a:lnTo>
                    <a:pt x="3626" y="1825"/>
                  </a:lnTo>
                  <a:lnTo>
                    <a:pt x="3669" y="1767"/>
                  </a:lnTo>
                  <a:lnTo>
                    <a:pt x="3712" y="1710"/>
                  </a:lnTo>
                  <a:lnTo>
                    <a:pt x="3754" y="1654"/>
                  </a:lnTo>
                  <a:lnTo>
                    <a:pt x="3797" y="1596"/>
                  </a:lnTo>
                  <a:lnTo>
                    <a:pt x="3839" y="1540"/>
                  </a:lnTo>
                  <a:lnTo>
                    <a:pt x="3881" y="1483"/>
                  </a:lnTo>
                  <a:lnTo>
                    <a:pt x="3924" y="1427"/>
                  </a:lnTo>
                  <a:lnTo>
                    <a:pt x="3966" y="1369"/>
                  </a:lnTo>
                  <a:lnTo>
                    <a:pt x="4009" y="1313"/>
                  </a:lnTo>
                  <a:lnTo>
                    <a:pt x="4052" y="1256"/>
                  </a:lnTo>
                  <a:lnTo>
                    <a:pt x="4094" y="1199"/>
                  </a:lnTo>
                  <a:lnTo>
                    <a:pt x="4137" y="1142"/>
                  </a:lnTo>
                  <a:lnTo>
                    <a:pt x="4180" y="1085"/>
                  </a:lnTo>
                  <a:lnTo>
                    <a:pt x="4223" y="1027"/>
                  </a:lnTo>
                  <a:lnTo>
                    <a:pt x="4265" y="970"/>
                  </a:lnTo>
                  <a:lnTo>
                    <a:pt x="4308" y="913"/>
                  </a:lnTo>
                  <a:lnTo>
                    <a:pt x="4325" y="891"/>
                  </a:lnTo>
                  <a:lnTo>
                    <a:pt x="4352" y="854"/>
                  </a:lnTo>
                  <a:lnTo>
                    <a:pt x="4389" y="805"/>
                  </a:lnTo>
                  <a:lnTo>
                    <a:pt x="4434" y="747"/>
                  </a:lnTo>
                  <a:lnTo>
                    <a:pt x="4484" y="680"/>
                  </a:lnTo>
                  <a:lnTo>
                    <a:pt x="4539" y="607"/>
                  </a:lnTo>
                  <a:lnTo>
                    <a:pt x="4596" y="530"/>
                  </a:lnTo>
                  <a:lnTo>
                    <a:pt x="4656" y="451"/>
                  </a:lnTo>
                  <a:lnTo>
                    <a:pt x="4715" y="372"/>
                  </a:lnTo>
                  <a:lnTo>
                    <a:pt x="4771" y="296"/>
                  </a:lnTo>
                  <a:lnTo>
                    <a:pt x="4824" y="224"/>
                  </a:lnTo>
                  <a:lnTo>
                    <a:pt x="4873" y="158"/>
                  </a:lnTo>
                  <a:lnTo>
                    <a:pt x="4914" y="101"/>
                  </a:lnTo>
                  <a:lnTo>
                    <a:pt x="4947" y="54"/>
                  </a:lnTo>
                  <a:lnTo>
                    <a:pt x="4970" y="20"/>
                  </a:lnTo>
                  <a:lnTo>
                    <a:pt x="4982" y="1"/>
                  </a:lnTo>
                  <a:lnTo>
                    <a:pt x="2737" y="0"/>
                  </a:lnTo>
                  <a:lnTo>
                    <a:pt x="2731" y="4"/>
                  </a:lnTo>
                  <a:lnTo>
                    <a:pt x="2722" y="11"/>
                  </a:lnTo>
                  <a:lnTo>
                    <a:pt x="2711" y="23"/>
                  </a:lnTo>
                  <a:lnTo>
                    <a:pt x="2695" y="40"/>
                  </a:lnTo>
                  <a:lnTo>
                    <a:pt x="2660" y="83"/>
                  </a:lnTo>
                  <a:lnTo>
                    <a:pt x="2615" y="138"/>
                  </a:lnTo>
                  <a:lnTo>
                    <a:pt x="2564" y="203"/>
                  </a:lnTo>
                  <a:lnTo>
                    <a:pt x="2507" y="276"/>
                  </a:lnTo>
                  <a:lnTo>
                    <a:pt x="2448" y="354"/>
                  </a:lnTo>
                  <a:lnTo>
                    <a:pt x="2388" y="435"/>
                  </a:lnTo>
                  <a:lnTo>
                    <a:pt x="2327" y="517"/>
                  </a:lnTo>
                  <a:lnTo>
                    <a:pt x="2268" y="597"/>
                  </a:lnTo>
                  <a:lnTo>
                    <a:pt x="2212" y="671"/>
                  </a:lnTo>
                  <a:lnTo>
                    <a:pt x="2162" y="740"/>
                  </a:lnTo>
                  <a:lnTo>
                    <a:pt x="2118" y="800"/>
                  </a:lnTo>
                  <a:lnTo>
                    <a:pt x="2082" y="848"/>
                  </a:lnTo>
                  <a:lnTo>
                    <a:pt x="2057" y="883"/>
                  </a:lnTo>
                  <a:lnTo>
                    <a:pt x="2043" y="901"/>
                  </a:lnTo>
                  <a:lnTo>
                    <a:pt x="2001" y="959"/>
                  </a:lnTo>
                  <a:lnTo>
                    <a:pt x="1958" y="1015"/>
                  </a:lnTo>
                  <a:lnTo>
                    <a:pt x="1915" y="1072"/>
                  </a:lnTo>
                  <a:lnTo>
                    <a:pt x="1872" y="1130"/>
                  </a:lnTo>
                  <a:lnTo>
                    <a:pt x="1829" y="1186"/>
                  </a:lnTo>
                  <a:lnTo>
                    <a:pt x="1787" y="1243"/>
                  </a:lnTo>
                  <a:lnTo>
                    <a:pt x="1744" y="1300"/>
                  </a:lnTo>
                  <a:lnTo>
                    <a:pt x="1701" y="1357"/>
                  </a:lnTo>
                  <a:lnTo>
                    <a:pt x="1658" y="1414"/>
                  </a:lnTo>
                  <a:lnTo>
                    <a:pt x="1616" y="1471"/>
                  </a:lnTo>
                  <a:lnTo>
                    <a:pt x="1573" y="1528"/>
                  </a:lnTo>
                  <a:lnTo>
                    <a:pt x="1531" y="1585"/>
                  </a:lnTo>
                  <a:lnTo>
                    <a:pt x="1488" y="1641"/>
                  </a:lnTo>
                  <a:lnTo>
                    <a:pt x="1445" y="1699"/>
                  </a:lnTo>
                  <a:lnTo>
                    <a:pt x="1402" y="1756"/>
                  </a:lnTo>
                  <a:lnTo>
                    <a:pt x="1360" y="1812"/>
                  </a:lnTo>
                  <a:lnTo>
                    <a:pt x="336" y="3180"/>
                  </a:lnTo>
                  <a:lnTo>
                    <a:pt x="314" y="3209"/>
                  </a:lnTo>
                  <a:lnTo>
                    <a:pt x="293" y="3238"/>
                  </a:lnTo>
                  <a:lnTo>
                    <a:pt x="271" y="3267"/>
                  </a:lnTo>
                  <a:lnTo>
                    <a:pt x="250" y="3295"/>
                  </a:lnTo>
                  <a:lnTo>
                    <a:pt x="228" y="3324"/>
                  </a:lnTo>
                  <a:lnTo>
                    <a:pt x="207" y="3353"/>
                  </a:lnTo>
                  <a:lnTo>
                    <a:pt x="184" y="3382"/>
                  </a:lnTo>
                  <a:lnTo>
                    <a:pt x="163" y="3412"/>
                  </a:lnTo>
                  <a:lnTo>
                    <a:pt x="145" y="3437"/>
                  </a:lnTo>
                  <a:lnTo>
                    <a:pt x="122" y="3463"/>
                  </a:lnTo>
                  <a:lnTo>
                    <a:pt x="100" y="3494"/>
                  </a:lnTo>
                  <a:lnTo>
                    <a:pt x="75" y="3525"/>
                  </a:lnTo>
                  <a:lnTo>
                    <a:pt x="53" y="3555"/>
                  </a:lnTo>
                  <a:lnTo>
                    <a:pt x="31" y="3584"/>
                  </a:lnTo>
                  <a:lnTo>
                    <a:pt x="22" y="3598"/>
                  </a:lnTo>
                  <a:lnTo>
                    <a:pt x="14" y="3612"/>
                  </a:lnTo>
                  <a:lnTo>
                    <a:pt x="7" y="3624"/>
                  </a:lnTo>
                  <a:lnTo>
                    <a:pt x="0" y="3635"/>
                  </a:lnTo>
                  <a:lnTo>
                    <a:pt x="2269" y="3637"/>
                  </a:lnTo>
                  <a:lnTo>
                    <a:pt x="2949" y="27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2667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1985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591550" y="4869657"/>
            <a:ext cx="552450" cy="273844"/>
          </a:xfrm>
          <a:prstGeom prst="rect">
            <a:avLst/>
          </a:prstGeom>
          <a:solidFill>
            <a:srgbClr val="E21A1A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806E5D-40B9-48AA-AED3-3EF30A97FA38}" type="slidenum">
              <a:rPr lang="ru-RU" smtClean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ru-RU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137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32101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4637"/>
          </a:xfrm>
          <a:prstGeom prst="rect">
            <a:avLst/>
          </a:prstGeom>
        </p:spPr>
        <p:txBody>
          <a:bodyPr lIns="91396" tIns="45697" rIns="91396" bIns="45697"/>
          <a:lstStyle>
            <a:lvl1pPr>
              <a:defRPr/>
            </a:lvl1pPr>
          </a:lstStyle>
          <a:p>
            <a:pPr defTabSz="914333"/>
            <a:r>
              <a:rPr lang="ru-RU" smtClean="0">
                <a:solidFill>
                  <a:prstClr val="black"/>
                </a:solidFill>
                <a:cs typeface="Arial" pitchFamily="34" charset="0"/>
              </a:rPr>
              <a:t>1</a:t>
            </a: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9" y="631900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7BE04C-0A62-48EE-9C63-4203BB14929B}" type="slidenum">
              <a:rPr lang="ru-RU">
                <a:solidFill>
                  <a:srgbClr val="E7E6E6">
                    <a:lumMod val="25000"/>
                  </a:srgbClr>
                </a:solidFill>
              </a:rPr>
              <a:pPr/>
              <a:t>‹#›</a:t>
            </a:fld>
            <a:endParaRPr lang="ru-RU">
              <a:solidFill>
                <a:srgbClr val="E7E6E6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816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568952" cy="8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44223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5197B86-2299-49C5-943C-4D8011CE9A14}" type="datetimeFigureOut">
              <a:rPr lang="ru-RU" smtClean="0"/>
              <a:pPr/>
              <a:t>1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63B17F-9B26-46E7-9FD4-F5CB10F5D71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7094790" cy="329563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408859"/>
            <a:ext cx="1316459" cy="324161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chemeClr val="accent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27552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/>
              </a:solidFill>
              <a:latin typeface="Trebuchet MS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64832-CE18-488F-B9C5-395821014EB5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95486"/>
            <a:ext cx="8229600" cy="8208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44224" y="1354836"/>
            <a:ext cx="8529889" cy="32956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63660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auto">
          <a:xfrm>
            <a:off x="0" y="4856163"/>
            <a:ext cx="9144000" cy="2873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Verdana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0"/>
            <a:ext cx="9144000" cy="701675"/>
          </a:xfrm>
          <a:prstGeom prst="rect">
            <a:avLst/>
          </a:prstGeom>
          <a:solidFill>
            <a:srgbClr val="BFC5CE"/>
          </a:solidFill>
          <a:ln w="9525" cap="flat" cmpd="sng" algn="ctr">
            <a:noFill/>
            <a:prstDash val="solid"/>
          </a:ln>
          <a:effectLst/>
        </p:spPr>
        <p:txBody>
          <a:bodyPr lIns="68580" tIns="34290" rIns="68580" bIns="3429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>
              <a:solidFill>
                <a:prstClr val="white"/>
              </a:solidFill>
              <a:latin typeface="Verdana"/>
              <a:cs typeface="+mn-cs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 userDrawn="1"/>
        </p:nvSpPr>
        <p:spPr bwMode="auto">
          <a:xfrm>
            <a:off x="225029" y="4946287"/>
            <a:ext cx="230187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2374F2AF-8B51-41D9-B382-7B85B102C64D}" type="slidenum">
              <a:rPr lang="en-US" sz="800" smtClean="0">
                <a:solidFill>
                  <a:prstClr val="black"/>
                </a:solidFill>
                <a:latin typeface="Verdana" panose="020B0604030504040204" pitchFamily="34" charset="0"/>
                <a:ea typeface="MS PGothic" panose="020B0600070205080204" pitchFamily="34" charset="-128"/>
              </a:rPr>
              <a:pPr algn="ctr" eaLnBrk="1" hangingPunct="1">
                <a:spcBef>
                  <a:spcPct val="50000"/>
                </a:spcBef>
              </a:pPr>
              <a:t>‹#›</a:t>
            </a:fld>
            <a:endParaRPr lang="en-US" sz="800" dirty="0">
              <a:solidFill>
                <a:prstClr val="black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8496300" y="4931569"/>
            <a:ext cx="306388" cy="136525"/>
            <a:chOff x="5385680" y="6487509"/>
            <a:chExt cx="1039813" cy="461962"/>
          </a:xfrm>
        </p:grpSpPr>
        <p:sp>
          <p:nvSpPr>
            <p:cNvPr id="15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6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  <p:sp>
          <p:nvSpPr>
            <p:cNvPr id="17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Trebuchet MS"/>
                <a:cs typeface="Arial" panose="020B0604020202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028" y="-1"/>
            <a:ext cx="7886700" cy="70200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100" b="1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033944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18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C7ED0B43-C998-4848-8DF9-30F71F51BB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FCCDCFD-1FC6-4243-B562-C098A8F085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4E727B0-8731-4CC3-8F32-8E639A5904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030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7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90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7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39624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9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0" tIns="45715" rIns="91430" bIns="45715" anchor="ctr"/>
          <a:lstStyle/>
          <a:p>
            <a:pPr algn="ctr" defTabSz="68569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698">
                <a:defRPr/>
              </a:pPr>
              <a:endParaRPr lang="ru-RU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7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32" y="294031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6"/>
            <a:ext cx="4140199" cy="2657477"/>
          </a:xfrm>
          <a:prstGeom prst="rect">
            <a:avLst/>
          </a:prstGeom>
        </p:spPr>
        <p:txBody>
          <a:bodyPr lIns="68576" tIns="34289" rIns="68576" bIns="34289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60"/>
            <a:ext cx="4140200" cy="365921"/>
          </a:xfrm>
          <a:prstGeom prst="rect">
            <a:avLst/>
          </a:prstGeom>
        </p:spPr>
        <p:txBody>
          <a:bodyPr lIns="68576" tIns="34289" rIns="68576" bIns="34289">
            <a:normAutofit/>
          </a:bodyPr>
          <a:lstStyle>
            <a:lvl1pPr marL="0" indent="0">
              <a:spcBef>
                <a:spcPts val="0"/>
              </a:spcBef>
              <a:buNone/>
              <a:defRPr sz="11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CD55C-2122-412E-9BAD-034CCEBDA41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68576" tIns="34289" rIns="68576" bIns="34289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6700" y="1352278"/>
            <a:ext cx="420671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577640" y="1352278"/>
            <a:ext cx="4196473" cy="327925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6" tIns="34289" rIns="68576" bIns="34289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49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0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14CCD9AB-F04C-4F12-AC26-257169738C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 defTabSz="685715"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en-US">
              <a:latin typeface="Trebuchet MS"/>
            </a:endParaRP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 bwMode="auto">
          <a:xfrm>
            <a:off x="890588" y="2517775"/>
            <a:ext cx="5513387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dirty="0">
                <a:solidFill>
                  <a:srgbClr val="FFFFFF"/>
                </a:solidFill>
                <a:latin typeface="Verdana" pitchFamily="34" charset="0"/>
                <a:cs typeface="+mn-cs"/>
              </a:rPr>
              <a:t>Образец заголовка</a:t>
            </a:r>
            <a:endParaRPr lang="en-US" sz="2200" dirty="0">
              <a:solidFill>
                <a:srgbClr val="FFFFFF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902401" y="4521200"/>
            <a:ext cx="4193157" cy="38139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buNone/>
              <a:defRPr sz="100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890030" y="2625757"/>
            <a:ext cx="5514509" cy="564404"/>
          </a:xfrm>
        </p:spPr>
        <p:txBody>
          <a:bodyPr/>
          <a:lstStyle>
            <a:lvl1pPr marL="0" marR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898321" y="3437382"/>
            <a:ext cx="5514509" cy="8487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7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19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48351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317500" y="4872038"/>
            <a:ext cx="34925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37680-937F-4636-8C4B-19DB3D188059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B1197B2B-B432-488B-BD5A-F299E1E0A2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2289F2DE-7CAF-417D-A405-0ED9EE9F7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73D6B73-ED62-4749-9E37-32B9753BE1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7013575" cy="334803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2"/>
          </p:nvPr>
        </p:nvSpPr>
        <p:spPr>
          <a:xfrm>
            <a:off x="7457655" y="1289803"/>
            <a:ext cx="1316459" cy="33429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66A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003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5048" y="-13097"/>
            <a:ext cx="366713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5048" y="261938"/>
            <a:ext cx="366713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5048" y="536973"/>
            <a:ext cx="366713" cy="27384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5048" y="810816"/>
            <a:ext cx="366713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5048" y="1085850"/>
            <a:ext cx="366713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5048" y="1360885"/>
            <a:ext cx="366713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5048" y="1637110"/>
            <a:ext cx="366713" cy="273844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5048" y="1909763"/>
            <a:ext cx="366713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48458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68577" tIns="34289" rIns="68577" bIns="34289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4667"/>
            <a:ext cx="406004" cy="13573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380" y="6487509"/>
              <a:ext cx="378113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991" y="6600973"/>
              <a:ext cx="317127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6051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685766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2"/>
            <a:ext cx="8458241" cy="766001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9" y="1447802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3"/>
            <a:ext cx="2133600" cy="275035"/>
          </a:xfr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EE9FDC0C-556C-49FC-9577-EFB382C45F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63"/>
            <a:ext cx="2895600" cy="2750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Trebuchet MS"/>
              <a:cs typeface="+mn-cs"/>
            </a:endParaRP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3"/>
            <a:ext cx="9144000" cy="529824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lIns="91436" tIns="45718" rIns="91436" bIns="45718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Trebuchet MS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914355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3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6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3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62" y="1447803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355">
              <a:defRPr/>
            </a:lvl1pPr>
          </a:lstStyle>
          <a:p>
            <a:pPr>
              <a:defRPr/>
            </a:pPr>
            <a:fld id="{EC893051-36D8-4DC4-8428-11F2E41FE0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028950" y="4767265"/>
            <a:ext cx="3086100" cy="274637"/>
          </a:xfrm>
          <a:prstGeom prst="rect">
            <a:avLst/>
          </a:prstGeom>
        </p:spPr>
        <p:txBody>
          <a:bodyPr/>
          <a:lstStyle>
            <a:lvl1pPr defTabSz="914355"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Trebuchet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01959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4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1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3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2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6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7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1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5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9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4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9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4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4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6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428" tIns="45714" rIns="91428" bIns="45714" anchor="ctr"/>
          <a:lstStyle/>
          <a:p>
            <a:pPr algn="ctr" defTabSz="44875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064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448757">
                <a:defRPr/>
              </a:pPr>
              <a:endParaRPr lang="ru-RU" dirty="0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7" y="1447803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29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7" y="1447802"/>
            <a:ext cx="4140199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6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421EF-058D-4DEE-BA0D-74337D6D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1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3092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43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5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5923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8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1"/>
            <a:ext cx="9144000" cy="8096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80374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80456" tIns="40228" rIns="80456" bIns="4022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1" y="4945856"/>
            <a:ext cx="406400" cy="134541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5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8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6" y="1447803"/>
            <a:ext cx="4140200" cy="2657477"/>
          </a:xfrm>
          <a:prstGeom prst="rect">
            <a:avLst/>
          </a:prstGeom>
        </p:spPr>
        <p:txBody>
          <a:bodyPr lIns="68580" tIns="34290" rIns="68580" bIns="34290"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1" y="4247757"/>
            <a:ext cx="4140200" cy="365921"/>
          </a:xfrm>
          <a:prstGeom prst="rect">
            <a:avLst/>
          </a:prstGeom>
        </p:spPr>
        <p:txBody>
          <a:bodyPr lIns="68580" tIns="34290" rIns="68580" bIns="34290">
            <a:normAutofit/>
          </a:bodyPr>
          <a:lstStyle>
            <a:lvl1pPr marL="0" indent="0">
              <a:spcBef>
                <a:spcPts val="0"/>
              </a:spcBef>
              <a:buNone/>
              <a:defRPr sz="9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B60C-3871-4435-AB3F-6B2521821F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124200" y="4767273"/>
            <a:ext cx="2895600" cy="273844"/>
          </a:xfrm>
          <a:prstGeom prst="rect">
            <a:avLst/>
          </a:prstGeom>
        </p:spPr>
        <p:txBody>
          <a:bodyPr lIns="80465" tIns="40232" rIns="80465" bIns="40232"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3070790"/>
            <a:ext cx="9144000" cy="207271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6113" y="4143283"/>
            <a:ext cx="5486400" cy="309766"/>
          </a:xfrm>
          <a:prstGeom prst="rect">
            <a:avLst/>
          </a:prstGeom>
        </p:spPr>
        <p:txBody>
          <a:bodyPr/>
          <a:lstStyle>
            <a:lvl1pPr marL="0" indent="0" eaLnBrk="1" hangingPunct="1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eaLnBrk="1" hangingPunct="1"/>
            <a:r>
              <a:rPr kumimoji="0" lang="ru-RU" dirty="0" smtClean="0">
                <a:ea typeface="Arial" pitchFamily="34" charset="0"/>
              </a:rPr>
              <a:t>Подзаголовок и/или имя спикера</a:t>
            </a:r>
            <a:endParaRPr kumimoji="0" lang="en-US" dirty="0" smtClean="0">
              <a:ea typeface="Arial" pitchFamily="34" charset="0"/>
            </a:endParaRPr>
          </a:p>
        </p:txBody>
      </p:sp>
      <p:sp>
        <p:nvSpPr>
          <p:cNvPr id="4" name="Заголовок 8"/>
          <p:cNvSpPr>
            <a:spLocks noGrp="1"/>
          </p:cNvSpPr>
          <p:nvPr>
            <p:ph type="title" hasCustomPrompt="1"/>
          </p:nvPr>
        </p:nvSpPr>
        <p:spPr>
          <a:xfrm>
            <a:off x="646113" y="3139878"/>
            <a:ext cx="5688632" cy="660366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 в 1 и 2 строки </a:t>
            </a:r>
            <a:br>
              <a:rPr lang="ru-RU" dirty="0" smtClean="0"/>
            </a:br>
            <a:r>
              <a:rPr lang="ru-RU" dirty="0" smtClean="0"/>
              <a:t>шрифт 20 </a:t>
            </a:r>
            <a:r>
              <a:rPr lang="ru-RU" dirty="0" err="1" smtClean="0"/>
              <a:t>разм</a:t>
            </a:r>
            <a:r>
              <a:rPr lang="ru-RU" dirty="0" smtClean="0"/>
              <a:t>. 3 строки 16 размер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646113" y="4625862"/>
            <a:ext cx="5486400" cy="24360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Дата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335" y="4533012"/>
            <a:ext cx="503853" cy="312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 userDrawn="1"/>
        </p:nvSpPr>
        <p:spPr>
          <a:xfrm>
            <a:off x="0" y="3047931"/>
            <a:ext cx="9144000" cy="36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152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"/>
          </p:nvPr>
        </p:nvSpPr>
        <p:spPr>
          <a:xfrm>
            <a:off x="327026" y="128468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en-US" noProof="0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0"/>
          </p:nvPr>
        </p:nvSpPr>
        <p:spPr>
          <a:xfrm>
            <a:off x="4667250" y="1285875"/>
            <a:ext cx="4125913" cy="283368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30731" y="258893"/>
            <a:ext cx="8543382" cy="76742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45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374650" y="-13096"/>
            <a:ext cx="366712" cy="275035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374650" y="261942"/>
            <a:ext cx="366712" cy="275035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374650" y="536972"/>
            <a:ext cx="366712" cy="275034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374650" y="810816"/>
            <a:ext cx="366712" cy="275034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374650" y="1085854"/>
            <a:ext cx="366712" cy="27503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374650" y="1360885"/>
            <a:ext cx="366712" cy="27503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374650" y="1635924"/>
            <a:ext cx="366712" cy="27503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374650" y="1909767"/>
            <a:ext cx="366712" cy="27503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5"/>
            <a:ext cx="9144000" cy="103108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4880373"/>
            <a:ext cx="9144000" cy="26312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69970" tIns="34985" rIns="69970" bIns="349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18" name="Picture 17" descr="rzd_logo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80401" y="4882758"/>
            <a:ext cx="573088" cy="260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21" y="1447803"/>
            <a:ext cx="7013575" cy="3174121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7516822" y="1447803"/>
            <a:ext cx="1252537" cy="31741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0433" y="294030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6E3920-D241-47FF-ACE0-4F6A8BBA12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374650" y="261938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374650" y="811213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374650" y="1360488"/>
            <a:ext cx="366712" cy="276225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374650" y="1636713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374650" y="1909763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9144000" cy="103187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8362950" y="4945063"/>
            <a:ext cx="406400" cy="134937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832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639"/>
              <a:ext cx="316818" cy="233701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639"/>
              <a:ext cx="434611" cy="347832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</p:grp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15915" y="1447799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15913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0425" y="294025"/>
            <a:ext cx="8458241" cy="76600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4629152" y="1447798"/>
            <a:ext cx="4140199" cy="2657477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4629150" y="4247752"/>
            <a:ext cx="4140200" cy="3659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B1BE1-73DF-4119-BEC8-59D976434011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547688" y="4872038"/>
            <a:ext cx="28956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| Методика планирования и учета выполнения работ Дистанции пути| 10-11/11/2016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"/>
          <p:cNvSpPr/>
          <p:nvPr userDrawn="1"/>
        </p:nvSpPr>
        <p:spPr>
          <a:xfrm>
            <a:off x="-17463" y="-33338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0" y="4879975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grpSp>
        <p:nvGrpSpPr>
          <p:cNvPr id="3080" name="Группа 10"/>
          <p:cNvGrpSpPr>
            <a:grpSpLocks noChangeAspect="1"/>
          </p:cNvGrpSpPr>
          <p:nvPr userDrawn="1"/>
        </p:nvGrpSpPr>
        <p:grpSpPr bwMode="auto">
          <a:xfrm>
            <a:off x="8496300" y="4948238"/>
            <a:ext cx="306388" cy="136525"/>
            <a:chOff x="5385680" y="6487509"/>
            <a:chExt cx="1039813" cy="461962"/>
          </a:xfrm>
        </p:grpSpPr>
        <p:sp>
          <p:nvSpPr>
            <p:cNvPr id="1072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3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  <p:sp>
          <p:nvSpPr>
            <p:cNvPr id="1074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Calibri" charset="0"/>
              </a:endParaRPr>
            </a:p>
          </p:txBody>
        </p:sp>
      </p:grpSp>
      <p:sp>
        <p:nvSpPr>
          <p:cNvPr id="32" name="Rectangle 6"/>
          <p:cNvSpPr>
            <a:spLocks noChangeArrowheads="1"/>
          </p:cNvSpPr>
          <p:nvPr userDrawn="1"/>
        </p:nvSpPr>
        <p:spPr bwMode="auto">
          <a:xfrm>
            <a:off x="-374650" y="-17463"/>
            <a:ext cx="366712" cy="366713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7"/>
          <p:cNvSpPr>
            <a:spLocks noChangeArrowheads="1"/>
          </p:cNvSpPr>
          <p:nvPr userDrawn="1"/>
        </p:nvSpPr>
        <p:spPr bwMode="auto">
          <a:xfrm>
            <a:off x="-374650" y="349250"/>
            <a:ext cx="366712" cy="366713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8"/>
          <p:cNvSpPr>
            <a:spLocks noChangeArrowheads="1"/>
          </p:cNvSpPr>
          <p:nvPr userDrawn="1"/>
        </p:nvSpPr>
        <p:spPr bwMode="auto">
          <a:xfrm>
            <a:off x="-374650" y="715963"/>
            <a:ext cx="366712" cy="366712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9"/>
          <p:cNvSpPr>
            <a:spLocks noChangeArrowheads="1"/>
          </p:cNvSpPr>
          <p:nvPr userDrawn="1"/>
        </p:nvSpPr>
        <p:spPr bwMode="auto">
          <a:xfrm>
            <a:off x="-374650" y="1081088"/>
            <a:ext cx="36671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13"/>
          <p:cNvSpPr>
            <a:spLocks noChangeArrowheads="1"/>
          </p:cNvSpPr>
          <p:nvPr userDrawn="1"/>
        </p:nvSpPr>
        <p:spPr bwMode="auto">
          <a:xfrm>
            <a:off x="-374650" y="1447800"/>
            <a:ext cx="366712" cy="366713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7" name="Rectangle 10"/>
          <p:cNvSpPr>
            <a:spLocks noChangeArrowheads="1"/>
          </p:cNvSpPr>
          <p:nvPr userDrawn="1"/>
        </p:nvSpPr>
        <p:spPr bwMode="auto">
          <a:xfrm>
            <a:off x="-774700" y="-22225"/>
            <a:ext cx="366712" cy="377825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781050" y="3303588"/>
            <a:ext cx="366712" cy="366712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1601788" y="-22225"/>
            <a:ext cx="366713" cy="366713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40" name="Rectangle 13"/>
          <p:cNvSpPr>
            <a:spLocks noChangeArrowheads="1"/>
          </p:cNvSpPr>
          <p:nvPr userDrawn="1"/>
        </p:nvSpPr>
        <p:spPr bwMode="auto">
          <a:xfrm>
            <a:off x="-374650" y="1828800"/>
            <a:ext cx="36671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1" name="Rectangle 7"/>
          <p:cNvSpPr>
            <a:spLocks noChangeArrowheads="1"/>
          </p:cNvSpPr>
          <p:nvPr userDrawn="1"/>
        </p:nvSpPr>
        <p:spPr bwMode="auto">
          <a:xfrm>
            <a:off x="-374650" y="2211388"/>
            <a:ext cx="366712" cy="366712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auto">
          <a:xfrm>
            <a:off x="-374650" y="2571750"/>
            <a:ext cx="366712" cy="366713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3" name="Rectangle 7"/>
          <p:cNvSpPr>
            <a:spLocks noChangeArrowheads="1"/>
          </p:cNvSpPr>
          <p:nvPr userDrawn="1"/>
        </p:nvSpPr>
        <p:spPr bwMode="auto">
          <a:xfrm>
            <a:off x="-374650" y="2943225"/>
            <a:ext cx="366712" cy="366713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4" name="Rectangle 7"/>
          <p:cNvSpPr>
            <a:spLocks noChangeArrowheads="1"/>
          </p:cNvSpPr>
          <p:nvPr userDrawn="1"/>
        </p:nvSpPr>
        <p:spPr bwMode="auto">
          <a:xfrm>
            <a:off x="-374650" y="3314700"/>
            <a:ext cx="366712" cy="366713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45" name="Rectangle 10"/>
          <p:cNvSpPr>
            <a:spLocks noChangeArrowheads="1"/>
          </p:cNvSpPr>
          <p:nvPr userDrawn="1"/>
        </p:nvSpPr>
        <p:spPr bwMode="auto">
          <a:xfrm>
            <a:off x="-774700" y="355600"/>
            <a:ext cx="366712" cy="366713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6" name="Rectangle 10"/>
          <p:cNvSpPr>
            <a:spLocks noChangeArrowheads="1"/>
          </p:cNvSpPr>
          <p:nvPr userDrawn="1"/>
        </p:nvSpPr>
        <p:spPr bwMode="auto">
          <a:xfrm>
            <a:off x="-774700" y="715963"/>
            <a:ext cx="366712" cy="366712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7" name="Rectangle 10"/>
          <p:cNvSpPr>
            <a:spLocks noChangeArrowheads="1"/>
          </p:cNvSpPr>
          <p:nvPr userDrawn="1"/>
        </p:nvSpPr>
        <p:spPr bwMode="auto">
          <a:xfrm>
            <a:off x="-774700" y="1082675"/>
            <a:ext cx="366712" cy="366713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8" name="Rectangle 10"/>
          <p:cNvSpPr>
            <a:spLocks noChangeArrowheads="1"/>
          </p:cNvSpPr>
          <p:nvPr userDrawn="1"/>
        </p:nvSpPr>
        <p:spPr bwMode="auto">
          <a:xfrm>
            <a:off x="-774700" y="1447800"/>
            <a:ext cx="366712" cy="388938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49" name="Rectangle 10"/>
          <p:cNvSpPr>
            <a:spLocks noChangeArrowheads="1"/>
          </p:cNvSpPr>
          <p:nvPr userDrawn="1"/>
        </p:nvSpPr>
        <p:spPr bwMode="auto">
          <a:xfrm>
            <a:off x="-774700" y="1836738"/>
            <a:ext cx="366712" cy="366712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0" name="Rectangle 10"/>
          <p:cNvSpPr>
            <a:spLocks noChangeArrowheads="1"/>
          </p:cNvSpPr>
          <p:nvPr userDrawn="1"/>
        </p:nvSpPr>
        <p:spPr bwMode="auto">
          <a:xfrm>
            <a:off x="-774700" y="2203450"/>
            <a:ext cx="366712" cy="366713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1" name="Rectangle 10"/>
          <p:cNvSpPr>
            <a:spLocks noChangeArrowheads="1"/>
          </p:cNvSpPr>
          <p:nvPr userDrawn="1"/>
        </p:nvSpPr>
        <p:spPr bwMode="auto">
          <a:xfrm>
            <a:off x="-774700" y="2570163"/>
            <a:ext cx="366712" cy="366712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2" name="Rectangle 10"/>
          <p:cNvSpPr>
            <a:spLocks noChangeArrowheads="1"/>
          </p:cNvSpPr>
          <p:nvPr userDrawn="1"/>
        </p:nvSpPr>
        <p:spPr bwMode="auto">
          <a:xfrm>
            <a:off x="-774700" y="2936875"/>
            <a:ext cx="36671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3" name="Rectangle 10"/>
          <p:cNvSpPr>
            <a:spLocks noChangeArrowheads="1"/>
          </p:cNvSpPr>
          <p:nvPr userDrawn="1"/>
        </p:nvSpPr>
        <p:spPr bwMode="auto">
          <a:xfrm>
            <a:off x="-1189038" y="-22225"/>
            <a:ext cx="366713" cy="377825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4" name="Rectangle 10"/>
          <p:cNvSpPr>
            <a:spLocks noChangeArrowheads="1"/>
          </p:cNvSpPr>
          <p:nvPr userDrawn="1"/>
        </p:nvSpPr>
        <p:spPr bwMode="auto">
          <a:xfrm>
            <a:off x="-1189038" y="355600"/>
            <a:ext cx="366713" cy="366713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5" name="Rectangle 10"/>
          <p:cNvSpPr>
            <a:spLocks noChangeArrowheads="1"/>
          </p:cNvSpPr>
          <p:nvPr userDrawn="1"/>
        </p:nvSpPr>
        <p:spPr bwMode="auto">
          <a:xfrm>
            <a:off x="-1189038" y="715963"/>
            <a:ext cx="366713" cy="366712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6" name="Rectangle 10"/>
          <p:cNvSpPr>
            <a:spLocks noChangeArrowheads="1"/>
          </p:cNvSpPr>
          <p:nvPr userDrawn="1"/>
        </p:nvSpPr>
        <p:spPr bwMode="auto">
          <a:xfrm>
            <a:off x="-1189038" y="1082675"/>
            <a:ext cx="366713" cy="366713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189038" y="1447800"/>
            <a:ext cx="366713" cy="388938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8" name="Rectangle 10"/>
          <p:cNvSpPr>
            <a:spLocks noChangeArrowheads="1"/>
          </p:cNvSpPr>
          <p:nvPr userDrawn="1"/>
        </p:nvSpPr>
        <p:spPr bwMode="auto">
          <a:xfrm>
            <a:off x="-1189038" y="1825625"/>
            <a:ext cx="366713" cy="373063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59" name="Rectangle 10"/>
          <p:cNvSpPr>
            <a:spLocks noChangeArrowheads="1"/>
          </p:cNvSpPr>
          <p:nvPr userDrawn="1"/>
        </p:nvSpPr>
        <p:spPr bwMode="auto">
          <a:xfrm>
            <a:off x="-1189038" y="2198688"/>
            <a:ext cx="366713" cy="373062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 userDrawn="1"/>
        </p:nvSpPr>
        <p:spPr bwMode="auto">
          <a:xfrm>
            <a:off x="-1189038" y="2570163"/>
            <a:ext cx="366713" cy="373062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 userDrawn="1"/>
        </p:nvSpPr>
        <p:spPr bwMode="auto">
          <a:xfrm>
            <a:off x="-1189038" y="2941638"/>
            <a:ext cx="366713" cy="373062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2" name="Rectangle 10"/>
          <p:cNvSpPr>
            <a:spLocks noChangeArrowheads="1"/>
          </p:cNvSpPr>
          <p:nvPr userDrawn="1"/>
        </p:nvSpPr>
        <p:spPr bwMode="auto">
          <a:xfrm>
            <a:off x="-1189038" y="3303588"/>
            <a:ext cx="366713" cy="373062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63" name="Rectangle 12"/>
          <p:cNvSpPr>
            <a:spLocks noChangeArrowheads="1"/>
          </p:cNvSpPr>
          <p:nvPr userDrawn="1"/>
        </p:nvSpPr>
        <p:spPr bwMode="auto">
          <a:xfrm>
            <a:off x="-781050" y="3676650"/>
            <a:ext cx="366712" cy="366713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4" name="Rectangle 12"/>
          <p:cNvSpPr>
            <a:spLocks noChangeArrowheads="1"/>
          </p:cNvSpPr>
          <p:nvPr userDrawn="1"/>
        </p:nvSpPr>
        <p:spPr bwMode="auto">
          <a:xfrm>
            <a:off x="-781050" y="4043363"/>
            <a:ext cx="366712" cy="366712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5" name="Rectangle 12"/>
          <p:cNvSpPr>
            <a:spLocks noChangeArrowheads="1"/>
          </p:cNvSpPr>
          <p:nvPr userDrawn="1"/>
        </p:nvSpPr>
        <p:spPr bwMode="auto">
          <a:xfrm>
            <a:off x="-781050" y="4410075"/>
            <a:ext cx="366712" cy="366713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6" name="Rectangle 12"/>
          <p:cNvSpPr>
            <a:spLocks noChangeArrowheads="1"/>
          </p:cNvSpPr>
          <p:nvPr userDrawn="1"/>
        </p:nvSpPr>
        <p:spPr bwMode="auto">
          <a:xfrm>
            <a:off x="-781050" y="4781550"/>
            <a:ext cx="366712" cy="366713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7" name="Rectangle 12"/>
          <p:cNvSpPr>
            <a:spLocks noChangeArrowheads="1"/>
          </p:cNvSpPr>
          <p:nvPr userDrawn="1"/>
        </p:nvSpPr>
        <p:spPr bwMode="auto">
          <a:xfrm>
            <a:off x="-1601788" y="334963"/>
            <a:ext cx="366713" cy="366712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8" name="Rectangle 12"/>
          <p:cNvSpPr>
            <a:spLocks noChangeArrowheads="1"/>
          </p:cNvSpPr>
          <p:nvPr userDrawn="1"/>
        </p:nvSpPr>
        <p:spPr bwMode="auto">
          <a:xfrm>
            <a:off x="-1601788" y="701675"/>
            <a:ext cx="366713" cy="366713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69" name="Rectangle 12"/>
          <p:cNvSpPr>
            <a:spLocks noChangeArrowheads="1"/>
          </p:cNvSpPr>
          <p:nvPr userDrawn="1"/>
        </p:nvSpPr>
        <p:spPr bwMode="auto">
          <a:xfrm>
            <a:off x="-1601788" y="1068388"/>
            <a:ext cx="366713" cy="366712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0" name="Rectangle 12"/>
          <p:cNvSpPr>
            <a:spLocks noChangeArrowheads="1"/>
          </p:cNvSpPr>
          <p:nvPr userDrawn="1"/>
        </p:nvSpPr>
        <p:spPr bwMode="auto">
          <a:xfrm>
            <a:off x="-1601788" y="1435100"/>
            <a:ext cx="366713" cy="366713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+mn-lt"/>
            </a:endParaRPr>
          </a:p>
        </p:txBody>
      </p:sp>
      <p:sp>
        <p:nvSpPr>
          <p:cNvPr id="71" name="TextBox 70"/>
          <p:cNvSpPr txBox="1"/>
          <p:nvPr userDrawn="1"/>
        </p:nvSpPr>
        <p:spPr>
          <a:xfrm>
            <a:off x="-393018" y="33110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1-211</a:t>
            </a:r>
            <a:endParaRPr lang="ru-RU" sz="600" dirty="0">
              <a:latin typeface="+mn-lt"/>
            </a:endParaRPr>
          </a:p>
        </p:txBody>
      </p:sp>
      <p:sp>
        <p:nvSpPr>
          <p:cNvPr id="72" name="TextBox 71"/>
          <p:cNvSpPr txBox="1"/>
          <p:nvPr userDrawn="1"/>
        </p:nvSpPr>
        <p:spPr>
          <a:xfrm>
            <a:off x="-393018" y="294099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9-169-169</a:t>
            </a:r>
            <a:endParaRPr lang="ru-RU" sz="600" dirty="0">
              <a:latin typeface="+mn-lt"/>
            </a:endParaRPr>
          </a:p>
        </p:txBody>
      </p:sp>
      <p:sp>
        <p:nvSpPr>
          <p:cNvPr id="73" name="TextBox 72"/>
          <p:cNvSpPr txBox="1"/>
          <p:nvPr userDrawn="1"/>
        </p:nvSpPr>
        <p:spPr>
          <a:xfrm>
            <a:off x="-1620688" y="-28575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55-105-</a:t>
            </a:r>
          </a:p>
          <a:p>
            <a:pPr algn="l"/>
            <a:r>
              <a:rPr lang="ru-RU" sz="600" dirty="0" smtClean="0">
                <a:latin typeface="+mn-lt"/>
              </a:rPr>
              <a:t>0</a:t>
            </a:r>
            <a:endParaRPr lang="ru-RU" sz="600" dirty="0">
              <a:latin typeface="+mn-lt"/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-1193360" y="-2221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02-161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5" name="TextBox 74"/>
          <p:cNvSpPr txBox="1"/>
          <p:nvPr userDrawn="1"/>
        </p:nvSpPr>
        <p:spPr>
          <a:xfrm>
            <a:off x="-393018" y="-19182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26-26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26</a:t>
            </a:r>
          </a:p>
        </p:txBody>
      </p:sp>
      <p:sp>
        <p:nvSpPr>
          <p:cNvPr id="76" name="TextBox 75"/>
          <p:cNvSpPr txBox="1"/>
          <p:nvPr userDrawn="1"/>
        </p:nvSpPr>
        <p:spPr>
          <a:xfrm>
            <a:off x="-1620688" y="343663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28-80-</a:t>
            </a:r>
          </a:p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4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7" name="TextBox 76"/>
          <p:cNvSpPr txBox="1"/>
          <p:nvPr userDrawn="1"/>
        </p:nvSpPr>
        <p:spPr>
          <a:xfrm>
            <a:off x="-791292" y="34870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3-134-95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 userDrawn="1"/>
        </p:nvSpPr>
        <p:spPr>
          <a:xfrm>
            <a:off x="-791292" y="-191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06-204-160</a:t>
            </a:r>
            <a:endParaRPr lang="ru-RU" sz="600" dirty="0">
              <a:latin typeface="+mn-lt"/>
            </a:endParaRPr>
          </a:p>
        </p:txBody>
      </p:sp>
      <p:sp>
        <p:nvSpPr>
          <p:cNvPr id="79" name="TextBox 78"/>
          <p:cNvSpPr txBox="1"/>
          <p:nvPr userDrawn="1"/>
        </p:nvSpPr>
        <p:spPr>
          <a:xfrm>
            <a:off x="-1620688" y="715901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72-107-47</a:t>
            </a:r>
          </a:p>
        </p:txBody>
      </p:sp>
      <p:sp>
        <p:nvSpPr>
          <p:cNvPr id="80" name="TextBox 79"/>
          <p:cNvSpPr txBox="1"/>
          <p:nvPr userDrawn="1"/>
        </p:nvSpPr>
        <p:spPr>
          <a:xfrm>
            <a:off x="-791292" y="10844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35-234-212</a:t>
            </a:r>
            <a:endParaRPr lang="ru-RU" sz="600" dirty="0">
              <a:latin typeface="+mn-lt"/>
            </a:endParaRPr>
          </a:p>
        </p:txBody>
      </p:sp>
      <p:sp>
        <p:nvSpPr>
          <p:cNvPr id="81" name="TextBox 80"/>
          <p:cNvSpPr txBox="1"/>
          <p:nvPr userDrawn="1"/>
        </p:nvSpPr>
        <p:spPr>
          <a:xfrm>
            <a:off x="-1620688" y="1088139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8-160-99</a:t>
            </a:r>
            <a:endParaRPr lang="ru-RU" sz="600" dirty="0">
              <a:latin typeface="+mn-lt"/>
            </a:endParaRPr>
          </a:p>
        </p:txBody>
      </p:sp>
      <p:sp>
        <p:nvSpPr>
          <p:cNvPr id="82" name="TextBox 81"/>
          <p:cNvSpPr txBox="1"/>
          <p:nvPr userDrawn="1"/>
        </p:nvSpPr>
        <p:spPr>
          <a:xfrm>
            <a:off x="-791292" y="71659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21-220-180</a:t>
            </a:r>
            <a:endParaRPr lang="ru-RU" sz="600" dirty="0">
              <a:latin typeface="+mn-lt"/>
            </a:endParaRPr>
          </a:p>
        </p:txBody>
      </p:sp>
      <p:sp>
        <p:nvSpPr>
          <p:cNvPr id="83" name="TextBox 82"/>
          <p:cNvSpPr txBox="1"/>
          <p:nvPr userDrawn="1"/>
        </p:nvSpPr>
        <p:spPr>
          <a:xfrm>
            <a:off x="-791292" y="145237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63-168-107</a:t>
            </a:r>
            <a:endParaRPr lang="ru-RU" sz="600" dirty="0">
              <a:latin typeface="+mn-lt"/>
            </a:endParaRPr>
          </a:p>
        </p:txBody>
      </p:sp>
      <p:sp>
        <p:nvSpPr>
          <p:cNvPr id="84" name="TextBox 83"/>
          <p:cNvSpPr txBox="1"/>
          <p:nvPr userDrawn="1"/>
        </p:nvSpPr>
        <p:spPr>
          <a:xfrm>
            <a:off x="-1620688" y="1460376"/>
            <a:ext cx="463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41-208-177</a:t>
            </a:r>
            <a:endParaRPr lang="ru-RU" sz="600" dirty="0">
              <a:latin typeface="+mn-lt"/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-393018" y="146090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44-156-170</a:t>
            </a:r>
            <a:endParaRPr lang="ru-RU" sz="600" dirty="0">
              <a:latin typeface="+mn-lt"/>
            </a:endParaRPr>
          </a:p>
        </p:txBody>
      </p:sp>
      <p:sp>
        <p:nvSpPr>
          <p:cNvPr id="86" name="TextBox 85"/>
          <p:cNvSpPr txBox="1"/>
          <p:nvPr userDrawn="1"/>
        </p:nvSpPr>
        <p:spPr>
          <a:xfrm>
            <a:off x="-392010" y="339502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57-74-88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TextBox 86"/>
          <p:cNvSpPr txBox="1"/>
          <p:nvPr userDrawn="1"/>
        </p:nvSpPr>
        <p:spPr>
          <a:xfrm>
            <a:off x="-393018" y="7208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69-93-112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8" name="TextBox 87"/>
          <p:cNvSpPr txBox="1"/>
          <p:nvPr userDrawn="1"/>
        </p:nvSpPr>
        <p:spPr>
          <a:xfrm>
            <a:off x="-393018" y="109088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4-121-13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9" name="TextBox 88"/>
          <p:cNvSpPr txBox="1"/>
          <p:nvPr userDrawn="1"/>
        </p:nvSpPr>
        <p:spPr>
          <a:xfrm>
            <a:off x="-393018" y="183092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91-197-206</a:t>
            </a:r>
            <a:endParaRPr lang="ru-RU" sz="600" dirty="0">
              <a:latin typeface="+mn-lt"/>
            </a:endParaRPr>
          </a:p>
        </p:txBody>
      </p:sp>
      <p:sp>
        <p:nvSpPr>
          <p:cNvPr id="90" name="TextBox 89"/>
          <p:cNvSpPr txBox="1"/>
          <p:nvPr userDrawn="1"/>
        </p:nvSpPr>
        <p:spPr>
          <a:xfrm>
            <a:off x="-393018" y="220095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6-96-9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1" name="TextBox 90"/>
          <p:cNvSpPr txBox="1"/>
          <p:nvPr userDrawn="1"/>
        </p:nvSpPr>
        <p:spPr>
          <a:xfrm>
            <a:off x="-393018" y="257097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30-130-13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 userDrawn="1"/>
        </p:nvSpPr>
        <p:spPr>
          <a:xfrm>
            <a:off x="-791292" y="218815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0-139-92</a:t>
            </a:r>
            <a:endParaRPr lang="ru-RU" sz="600" dirty="0">
              <a:latin typeface="+mn-lt"/>
            </a:endParaRPr>
          </a:p>
        </p:txBody>
      </p:sp>
      <p:sp>
        <p:nvSpPr>
          <p:cNvPr id="93" name="TextBox 92"/>
          <p:cNvSpPr txBox="1"/>
          <p:nvPr userDrawn="1"/>
        </p:nvSpPr>
        <p:spPr>
          <a:xfrm>
            <a:off x="-791292" y="182026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98-107-69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 userDrawn="1"/>
        </p:nvSpPr>
        <p:spPr>
          <a:xfrm>
            <a:off x="-791292" y="2923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1-215-189</a:t>
            </a:r>
            <a:endParaRPr lang="ru-RU" sz="600" dirty="0">
              <a:latin typeface="+mn-lt"/>
            </a:endParaRPr>
          </a:p>
        </p:txBody>
      </p:sp>
      <p:sp>
        <p:nvSpPr>
          <p:cNvPr id="95" name="TextBox 94"/>
          <p:cNvSpPr txBox="1"/>
          <p:nvPr userDrawn="1"/>
        </p:nvSpPr>
        <p:spPr>
          <a:xfrm>
            <a:off x="-791292" y="255604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8-185-137</a:t>
            </a:r>
            <a:endParaRPr lang="ru-RU" sz="600" dirty="0">
              <a:latin typeface="+mn-lt"/>
            </a:endParaRPr>
          </a:p>
        </p:txBody>
      </p:sp>
      <p:sp>
        <p:nvSpPr>
          <p:cNvPr id="96" name="TextBox 95"/>
          <p:cNvSpPr txBox="1"/>
          <p:nvPr userDrawn="1"/>
        </p:nvSpPr>
        <p:spPr>
          <a:xfrm>
            <a:off x="-791292" y="329183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0-214-75</a:t>
            </a:r>
            <a:endParaRPr lang="ru-RU" sz="600" dirty="0">
              <a:latin typeface="+mn-lt"/>
            </a:endParaRPr>
          </a:p>
        </p:txBody>
      </p:sp>
      <p:sp>
        <p:nvSpPr>
          <p:cNvPr id="97" name="TextBox 96"/>
          <p:cNvSpPr txBox="1"/>
          <p:nvPr userDrawn="1"/>
        </p:nvSpPr>
        <p:spPr>
          <a:xfrm>
            <a:off x="-1188640" y="69954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80-124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8" name="TextBox 97"/>
          <p:cNvSpPr txBox="1"/>
          <p:nvPr userDrawn="1"/>
        </p:nvSpPr>
        <p:spPr>
          <a:xfrm>
            <a:off x="-1188640" y="33950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51-86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TextBox 98"/>
          <p:cNvSpPr txBox="1"/>
          <p:nvPr userDrawn="1"/>
        </p:nvSpPr>
        <p:spPr>
          <a:xfrm>
            <a:off x="-1195034" y="144006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38-176-210</a:t>
            </a:r>
            <a:endParaRPr lang="ru-RU" sz="600" dirty="0">
              <a:latin typeface="+mn-lt"/>
            </a:endParaRPr>
          </a:p>
        </p:txBody>
      </p:sp>
      <p:sp>
        <p:nvSpPr>
          <p:cNvPr id="100" name="TextBox 99"/>
          <p:cNvSpPr txBox="1"/>
          <p:nvPr userDrawn="1"/>
        </p:nvSpPr>
        <p:spPr>
          <a:xfrm>
            <a:off x="-1178168" y="105958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0-127-17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1" name="TextBox 100"/>
          <p:cNvSpPr txBox="1"/>
          <p:nvPr userDrawn="1"/>
        </p:nvSpPr>
        <p:spPr>
          <a:xfrm>
            <a:off x="-1201428" y="182693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0-163-224</a:t>
            </a:r>
            <a:endParaRPr lang="ru-RU" sz="600" dirty="0">
              <a:latin typeface="+mn-lt"/>
            </a:endParaRPr>
          </a:p>
        </p:txBody>
      </p:sp>
      <p:sp>
        <p:nvSpPr>
          <p:cNvPr id="102" name="TextBox 101"/>
          <p:cNvSpPr txBox="1"/>
          <p:nvPr userDrawn="1"/>
        </p:nvSpPr>
        <p:spPr>
          <a:xfrm>
            <a:off x="-788562" y="36573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101-132-70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3" name="TextBox 102"/>
          <p:cNvSpPr txBox="1"/>
          <p:nvPr userDrawn="1"/>
        </p:nvSpPr>
        <p:spPr>
          <a:xfrm>
            <a:off x="-788562" y="439317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4-208-134</a:t>
            </a:r>
            <a:endParaRPr lang="ru-RU" sz="600" dirty="0">
              <a:latin typeface="+mn-lt"/>
            </a:endParaRPr>
          </a:p>
        </p:txBody>
      </p:sp>
      <p:sp>
        <p:nvSpPr>
          <p:cNvPr id="104" name="TextBox 103"/>
          <p:cNvSpPr txBox="1"/>
          <p:nvPr userDrawn="1"/>
        </p:nvSpPr>
        <p:spPr>
          <a:xfrm>
            <a:off x="-788562" y="402528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27-163-87</a:t>
            </a:r>
            <a:endParaRPr lang="ru-RU" sz="600" dirty="0">
              <a:latin typeface="+mn-lt"/>
            </a:endParaRPr>
          </a:p>
        </p:txBody>
      </p:sp>
      <p:sp>
        <p:nvSpPr>
          <p:cNvPr id="105" name="TextBox 104"/>
          <p:cNvSpPr txBox="1"/>
          <p:nvPr userDrawn="1"/>
        </p:nvSpPr>
        <p:spPr>
          <a:xfrm>
            <a:off x="-788562" y="4761062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214-232-195</a:t>
            </a:r>
            <a:endParaRPr lang="ru-RU" sz="600" dirty="0">
              <a:latin typeface="+mn-lt"/>
            </a:endParaRPr>
          </a:p>
        </p:txBody>
      </p:sp>
      <p:sp>
        <p:nvSpPr>
          <p:cNvPr id="106" name="TextBox 105"/>
          <p:cNvSpPr txBox="1"/>
          <p:nvPr userDrawn="1"/>
        </p:nvSpPr>
        <p:spPr>
          <a:xfrm>
            <a:off x="-1188640" y="2576886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47-135-182</a:t>
            </a:r>
            <a:endParaRPr lang="ru-RU" sz="600" dirty="0">
              <a:latin typeface="+mn-lt"/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-1188640" y="2196404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solidFill>
                  <a:schemeClr val="bg1"/>
                </a:solidFill>
                <a:latin typeface="+mn-lt"/>
              </a:rPr>
              <a:t>32-102-137</a:t>
            </a:r>
            <a:endParaRPr lang="ru-RU" sz="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8" name="TextBox 107"/>
          <p:cNvSpPr txBox="1"/>
          <p:nvPr userDrawn="1"/>
        </p:nvSpPr>
        <p:spPr>
          <a:xfrm>
            <a:off x="-1201428" y="2931790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97-185-233</a:t>
            </a:r>
            <a:endParaRPr lang="ru-RU" sz="600" dirty="0">
              <a:latin typeface="+mn-lt"/>
            </a:endParaRPr>
          </a:p>
        </p:txBody>
      </p:sp>
      <p:sp>
        <p:nvSpPr>
          <p:cNvPr id="109" name="TextBox 108"/>
          <p:cNvSpPr txBox="1"/>
          <p:nvPr userDrawn="1"/>
        </p:nvSpPr>
        <p:spPr>
          <a:xfrm>
            <a:off x="-1188640" y="3309788"/>
            <a:ext cx="39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600" dirty="0" smtClean="0">
                <a:latin typeface="+mn-lt"/>
              </a:rPr>
              <a:t>176-220-244</a:t>
            </a:r>
            <a:endParaRPr lang="ru-RU" sz="600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3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31" r:id="rId11"/>
    <p:sldLayoutId id="2147484434" r:id="rId12"/>
    <p:sldLayoutId id="214748452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Verdana" charset="0"/>
          <a:cs typeface="Verdan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539" r:id="rId14"/>
    <p:sldLayoutId id="2147484540" r:id="rId15"/>
    <p:sldLayoutId id="2147484541" r:id="rId16"/>
    <p:sldLayoutId id="2147484542" r:id="rId17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"/>
            <a:ext cx="8047806" cy="555524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411510"/>
            <a:ext cx="20574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defTabSz="914355" fontAlgn="auto">
              <a:spcBef>
                <a:spcPts val="0"/>
              </a:spcBef>
              <a:spcAft>
                <a:spcPts val="0"/>
              </a:spcAft>
            </a:pPr>
            <a:fld id="{696B805C-3653-4111-9D74-7F4262724AD8}" type="slidenum">
              <a:rPr lang="ru-RU" smtClean="0">
                <a:solidFill>
                  <a:srgbClr val="E7E6E6">
                    <a:lumMod val="25000"/>
                  </a:srgbClr>
                </a:solidFill>
                <a:latin typeface="Trebuchet MS"/>
                <a:cs typeface="Arial" pitchFamily="34" charset="0"/>
              </a:rPr>
              <a:pPr defTabSz="9143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E7E6E6">
                  <a:lumMod val="25000"/>
                </a:srgbClr>
              </a:solidFill>
              <a:latin typeface="Trebuchet MS"/>
              <a:cs typeface="Arial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7546" y="55116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567844" y="51515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" y="55116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6"/>
          <p:cNvGrpSpPr/>
          <p:nvPr userDrawn="1"/>
        </p:nvGrpSpPr>
        <p:grpSpPr>
          <a:xfrm>
            <a:off x="8094438" y="51470"/>
            <a:ext cx="767210" cy="344046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70537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44" r:id="rId15"/>
    <p:sldLayoutId id="2147484545" r:id="rId16"/>
    <p:sldLayoutId id="2147484546" r:id="rId17"/>
    <p:sldLayoutId id="2147484547" r:id="rId18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1600" b="0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555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0" y="4869656"/>
            <a:ext cx="50405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964832-CE18-488F-B9C5-395821014EB5}" type="slidenum">
              <a:rPr lang="ru-RU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3" name="Группа 6"/>
          <p:cNvGrpSpPr/>
          <p:nvPr/>
        </p:nvGrpSpPr>
        <p:grpSpPr>
          <a:xfrm>
            <a:off x="-1620688" y="-28575"/>
            <a:ext cx="1691022" cy="5176838"/>
            <a:chOff x="-1620688" y="-28575"/>
            <a:chExt cx="1691022" cy="5176838"/>
          </a:xfrm>
        </p:grpSpPr>
        <p:sp>
          <p:nvSpPr>
            <p:cNvPr id="8" name="Rectangle 6"/>
            <p:cNvSpPr>
              <a:spLocks noChangeArrowheads="1"/>
            </p:cNvSpPr>
            <p:nvPr userDrawn="1"/>
          </p:nvSpPr>
          <p:spPr bwMode="auto">
            <a:xfrm>
              <a:off x="-374650" y="-17463"/>
              <a:ext cx="366712" cy="366713"/>
            </a:xfrm>
            <a:prstGeom prst="rect">
              <a:avLst/>
            </a:prstGeom>
            <a:solidFill>
              <a:srgbClr val="E21A1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 userDrawn="1"/>
          </p:nvSpPr>
          <p:spPr bwMode="auto">
            <a:xfrm>
              <a:off x="-374650" y="349250"/>
              <a:ext cx="366712" cy="366713"/>
            </a:xfrm>
            <a:prstGeom prst="rect">
              <a:avLst/>
            </a:prstGeom>
            <a:solidFill>
              <a:srgbClr val="394A58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 userDrawn="1"/>
          </p:nvSpPr>
          <p:spPr bwMode="auto">
            <a:xfrm>
              <a:off x="-374650" y="715963"/>
              <a:ext cx="366712" cy="366712"/>
            </a:xfrm>
            <a:prstGeom prst="rect">
              <a:avLst/>
            </a:prstGeom>
            <a:solidFill>
              <a:srgbClr val="455D7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 userDrawn="1"/>
          </p:nvSpPr>
          <p:spPr bwMode="auto">
            <a:xfrm>
              <a:off x="-374650" y="1081088"/>
              <a:ext cx="366712" cy="366712"/>
            </a:xfrm>
            <a:prstGeom prst="rect">
              <a:avLst/>
            </a:prstGeom>
            <a:solidFill>
              <a:srgbClr val="68798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2" name="Rectangle 13"/>
            <p:cNvSpPr>
              <a:spLocks noChangeArrowheads="1"/>
            </p:cNvSpPr>
            <p:nvPr userDrawn="1"/>
          </p:nvSpPr>
          <p:spPr bwMode="auto">
            <a:xfrm>
              <a:off x="-374650" y="1447800"/>
              <a:ext cx="366712" cy="366713"/>
            </a:xfrm>
            <a:prstGeom prst="rect">
              <a:avLst/>
            </a:prstGeom>
            <a:solidFill>
              <a:srgbClr val="909CAA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 userDrawn="1"/>
          </p:nvSpPr>
          <p:spPr bwMode="auto">
            <a:xfrm>
              <a:off x="-774700" y="-22225"/>
              <a:ext cx="366712" cy="377825"/>
            </a:xfrm>
            <a:prstGeom prst="rect">
              <a:avLst/>
            </a:prstGeom>
            <a:solidFill>
              <a:srgbClr val="CECCA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 userDrawn="1"/>
          </p:nvSpPr>
          <p:spPr bwMode="auto">
            <a:xfrm>
              <a:off x="-781050" y="3303588"/>
              <a:ext cx="366712" cy="366712"/>
            </a:xfrm>
            <a:prstGeom prst="rect">
              <a:avLst/>
            </a:prstGeom>
            <a:solidFill>
              <a:srgbClr val="78D64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 userDrawn="1"/>
          </p:nvSpPr>
          <p:spPr bwMode="auto">
            <a:xfrm>
              <a:off x="-1601788" y="-22225"/>
              <a:ext cx="366713" cy="366713"/>
            </a:xfrm>
            <a:prstGeom prst="rect">
              <a:avLst/>
            </a:prstGeom>
            <a:solidFill>
              <a:srgbClr val="FF690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 userDrawn="1"/>
          </p:nvSpPr>
          <p:spPr bwMode="auto">
            <a:xfrm>
              <a:off x="-374650" y="1828800"/>
              <a:ext cx="366712" cy="366713"/>
            </a:xfrm>
            <a:prstGeom prst="rect">
              <a:avLst/>
            </a:prstGeom>
            <a:solidFill>
              <a:srgbClr val="BFC5CE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7" name="Rectangle 7"/>
            <p:cNvSpPr>
              <a:spLocks noChangeArrowheads="1"/>
            </p:cNvSpPr>
            <p:nvPr userDrawn="1"/>
          </p:nvSpPr>
          <p:spPr bwMode="auto">
            <a:xfrm>
              <a:off x="-374650" y="2211388"/>
              <a:ext cx="366712" cy="366712"/>
            </a:xfrm>
            <a:prstGeom prst="rect">
              <a:avLst/>
            </a:prstGeom>
            <a:solidFill>
              <a:srgbClr val="60606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8" name="Rectangle 7"/>
            <p:cNvSpPr>
              <a:spLocks noChangeArrowheads="1"/>
            </p:cNvSpPr>
            <p:nvPr userDrawn="1"/>
          </p:nvSpPr>
          <p:spPr bwMode="auto">
            <a:xfrm>
              <a:off x="-374650" y="2571750"/>
              <a:ext cx="366712" cy="366713"/>
            </a:xfrm>
            <a:prstGeom prst="rect">
              <a:avLst/>
            </a:prstGeom>
            <a:solidFill>
              <a:srgbClr val="82828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-374650" y="2943225"/>
              <a:ext cx="366712" cy="366713"/>
            </a:xfrm>
            <a:prstGeom prst="rect">
              <a:avLst/>
            </a:prstGeom>
            <a:solidFill>
              <a:srgbClr val="A9A9A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 userDrawn="1"/>
          </p:nvSpPr>
          <p:spPr bwMode="auto">
            <a:xfrm>
              <a:off x="-374650" y="3314700"/>
              <a:ext cx="366712" cy="366713"/>
            </a:xfrm>
            <a:prstGeom prst="rect">
              <a:avLst/>
            </a:prstGeom>
            <a:solidFill>
              <a:srgbClr val="D3D3D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1" name="Rectangle 10"/>
            <p:cNvSpPr>
              <a:spLocks noChangeArrowheads="1"/>
            </p:cNvSpPr>
            <p:nvPr userDrawn="1"/>
          </p:nvSpPr>
          <p:spPr bwMode="auto">
            <a:xfrm>
              <a:off x="-774700" y="355600"/>
              <a:ext cx="366712" cy="366713"/>
            </a:xfrm>
            <a:prstGeom prst="rect">
              <a:avLst/>
            </a:prstGeom>
            <a:solidFill>
              <a:srgbClr val="85865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2" name="Rectangle 10"/>
            <p:cNvSpPr>
              <a:spLocks noChangeArrowheads="1"/>
            </p:cNvSpPr>
            <p:nvPr userDrawn="1"/>
          </p:nvSpPr>
          <p:spPr bwMode="auto">
            <a:xfrm>
              <a:off x="-774700" y="715963"/>
              <a:ext cx="366712" cy="366712"/>
            </a:xfrm>
            <a:prstGeom prst="rect">
              <a:avLst/>
            </a:prstGeom>
            <a:solidFill>
              <a:srgbClr val="DDDCB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3" name="Rectangle 10"/>
            <p:cNvSpPr>
              <a:spLocks noChangeArrowheads="1"/>
            </p:cNvSpPr>
            <p:nvPr userDrawn="1"/>
          </p:nvSpPr>
          <p:spPr bwMode="auto">
            <a:xfrm>
              <a:off x="-774700" y="1082675"/>
              <a:ext cx="366712" cy="366713"/>
            </a:xfrm>
            <a:prstGeom prst="rect">
              <a:avLst/>
            </a:prstGeom>
            <a:solidFill>
              <a:srgbClr val="EBEAD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4" name="Rectangle 10"/>
            <p:cNvSpPr>
              <a:spLocks noChangeArrowheads="1"/>
            </p:cNvSpPr>
            <p:nvPr userDrawn="1"/>
          </p:nvSpPr>
          <p:spPr bwMode="auto">
            <a:xfrm>
              <a:off x="-774700" y="1447800"/>
              <a:ext cx="366712" cy="388938"/>
            </a:xfrm>
            <a:prstGeom prst="rect">
              <a:avLst/>
            </a:prstGeom>
            <a:solidFill>
              <a:srgbClr val="A3A86B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-774700" y="1836738"/>
              <a:ext cx="366712" cy="366712"/>
            </a:xfrm>
            <a:prstGeom prst="rect">
              <a:avLst/>
            </a:prstGeom>
            <a:solidFill>
              <a:srgbClr val="626B45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 userDrawn="1"/>
          </p:nvSpPr>
          <p:spPr bwMode="auto">
            <a:xfrm>
              <a:off x="-774700" y="2203450"/>
              <a:ext cx="366712" cy="366713"/>
            </a:xfrm>
            <a:prstGeom prst="rect">
              <a:avLst/>
            </a:prstGeom>
            <a:solidFill>
              <a:srgbClr val="828B5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7" name="Rectangle 10"/>
            <p:cNvSpPr>
              <a:spLocks noChangeArrowheads="1"/>
            </p:cNvSpPr>
            <p:nvPr userDrawn="1"/>
          </p:nvSpPr>
          <p:spPr bwMode="auto">
            <a:xfrm>
              <a:off x="-774700" y="2570163"/>
              <a:ext cx="366712" cy="366712"/>
            </a:xfrm>
            <a:prstGeom prst="rect">
              <a:avLst/>
            </a:prstGeom>
            <a:solidFill>
              <a:srgbClr val="B2B9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-774700" y="2936875"/>
              <a:ext cx="366712" cy="366713"/>
            </a:xfrm>
            <a:prstGeom prst="rect">
              <a:avLst/>
            </a:prstGeom>
            <a:solidFill>
              <a:srgbClr val="D3D7BD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29" name="Rectangle 10"/>
            <p:cNvSpPr>
              <a:spLocks noChangeArrowheads="1"/>
            </p:cNvSpPr>
            <p:nvPr userDrawn="1"/>
          </p:nvSpPr>
          <p:spPr bwMode="auto">
            <a:xfrm>
              <a:off x="-1189038" y="-22225"/>
              <a:ext cx="366713" cy="377825"/>
            </a:xfrm>
            <a:prstGeom prst="rect">
              <a:avLst/>
            </a:prstGeom>
            <a:solidFill>
              <a:srgbClr val="0066A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0" name="Rectangle 10"/>
            <p:cNvSpPr>
              <a:spLocks noChangeArrowheads="1"/>
            </p:cNvSpPr>
            <p:nvPr userDrawn="1"/>
          </p:nvSpPr>
          <p:spPr bwMode="auto">
            <a:xfrm>
              <a:off x="-1189038" y="355600"/>
              <a:ext cx="366713" cy="366713"/>
            </a:xfrm>
            <a:prstGeom prst="rect">
              <a:avLst/>
            </a:prstGeom>
            <a:solidFill>
              <a:srgbClr val="00335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1" name="Rectangle 10"/>
            <p:cNvSpPr>
              <a:spLocks noChangeArrowheads="1"/>
            </p:cNvSpPr>
            <p:nvPr userDrawn="1"/>
          </p:nvSpPr>
          <p:spPr bwMode="auto">
            <a:xfrm>
              <a:off x="-1189038" y="715963"/>
              <a:ext cx="366713" cy="366712"/>
            </a:xfrm>
            <a:prstGeom prst="rect">
              <a:avLst/>
            </a:prstGeom>
            <a:solidFill>
              <a:srgbClr val="00507C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2" name="Rectangle 10"/>
            <p:cNvSpPr>
              <a:spLocks noChangeArrowheads="1"/>
            </p:cNvSpPr>
            <p:nvPr userDrawn="1"/>
          </p:nvSpPr>
          <p:spPr bwMode="auto">
            <a:xfrm>
              <a:off x="-1189038" y="1082675"/>
              <a:ext cx="366713" cy="366713"/>
            </a:xfrm>
            <a:prstGeom prst="rect">
              <a:avLst/>
            </a:prstGeom>
            <a:solidFill>
              <a:srgbClr val="007F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-1189038" y="1447800"/>
              <a:ext cx="366713" cy="388938"/>
            </a:xfrm>
            <a:prstGeom prst="rect">
              <a:avLst/>
            </a:prstGeom>
            <a:solidFill>
              <a:srgbClr val="8AB0D2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4" name="Rectangle 10"/>
            <p:cNvSpPr>
              <a:spLocks noChangeArrowheads="1"/>
            </p:cNvSpPr>
            <p:nvPr userDrawn="1"/>
          </p:nvSpPr>
          <p:spPr bwMode="auto">
            <a:xfrm>
              <a:off x="-1189038" y="1825625"/>
              <a:ext cx="366713" cy="373063"/>
            </a:xfrm>
            <a:prstGeom prst="rect">
              <a:avLst/>
            </a:prstGeom>
            <a:solidFill>
              <a:srgbClr val="00A3E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5" name="Rectangle 10"/>
            <p:cNvSpPr>
              <a:spLocks noChangeArrowheads="1"/>
            </p:cNvSpPr>
            <p:nvPr userDrawn="1"/>
          </p:nvSpPr>
          <p:spPr bwMode="auto">
            <a:xfrm>
              <a:off x="-1189038" y="2198688"/>
              <a:ext cx="366713" cy="373062"/>
            </a:xfrm>
            <a:prstGeom prst="rect">
              <a:avLst/>
            </a:prstGeom>
            <a:solidFill>
              <a:srgbClr val="20668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6" name="Rectangle 10"/>
            <p:cNvSpPr>
              <a:spLocks noChangeArrowheads="1"/>
            </p:cNvSpPr>
            <p:nvPr userDrawn="1"/>
          </p:nvSpPr>
          <p:spPr bwMode="auto">
            <a:xfrm>
              <a:off x="-1189038" y="2570163"/>
              <a:ext cx="366713" cy="373062"/>
            </a:xfrm>
            <a:prstGeom prst="rect">
              <a:avLst/>
            </a:prstGeom>
            <a:solidFill>
              <a:srgbClr val="2F87B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7" name="Rectangle 10"/>
            <p:cNvSpPr>
              <a:spLocks noChangeArrowheads="1"/>
            </p:cNvSpPr>
            <p:nvPr userDrawn="1"/>
          </p:nvSpPr>
          <p:spPr bwMode="auto">
            <a:xfrm>
              <a:off x="-1189038" y="2941638"/>
              <a:ext cx="366713" cy="373062"/>
            </a:xfrm>
            <a:prstGeom prst="rect">
              <a:avLst/>
            </a:prstGeom>
            <a:solidFill>
              <a:srgbClr val="61B9E9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8" name="Rectangle 10"/>
            <p:cNvSpPr>
              <a:spLocks noChangeArrowheads="1"/>
            </p:cNvSpPr>
            <p:nvPr userDrawn="1"/>
          </p:nvSpPr>
          <p:spPr bwMode="auto">
            <a:xfrm>
              <a:off x="-1189038" y="3303588"/>
              <a:ext cx="366713" cy="373062"/>
            </a:xfrm>
            <a:prstGeom prst="rect">
              <a:avLst/>
            </a:prstGeom>
            <a:solidFill>
              <a:srgbClr val="B0DCF4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  <a:latin typeface="Trebuchet MS"/>
                <a:cs typeface="+mn-cs"/>
              </a:endParaRPr>
            </a:p>
          </p:txBody>
        </p:sp>
        <p:sp>
          <p:nvSpPr>
            <p:cNvPr id="39" name="Rectangle 12"/>
            <p:cNvSpPr>
              <a:spLocks noChangeArrowheads="1"/>
            </p:cNvSpPr>
            <p:nvPr userDrawn="1"/>
          </p:nvSpPr>
          <p:spPr bwMode="auto">
            <a:xfrm>
              <a:off x="-781050" y="3676650"/>
              <a:ext cx="366712" cy="366713"/>
            </a:xfrm>
            <a:prstGeom prst="rect">
              <a:avLst/>
            </a:prstGeom>
            <a:solidFill>
              <a:srgbClr val="65844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0" name="Rectangle 12"/>
            <p:cNvSpPr>
              <a:spLocks noChangeArrowheads="1"/>
            </p:cNvSpPr>
            <p:nvPr userDrawn="1"/>
          </p:nvSpPr>
          <p:spPr bwMode="auto">
            <a:xfrm>
              <a:off x="-781050" y="4043363"/>
              <a:ext cx="366712" cy="366712"/>
            </a:xfrm>
            <a:prstGeom prst="rect">
              <a:avLst/>
            </a:prstGeom>
            <a:solidFill>
              <a:srgbClr val="7FA357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1" name="Rectangle 12"/>
            <p:cNvSpPr>
              <a:spLocks noChangeArrowheads="1"/>
            </p:cNvSpPr>
            <p:nvPr userDrawn="1"/>
          </p:nvSpPr>
          <p:spPr bwMode="auto">
            <a:xfrm>
              <a:off x="-781050" y="4410075"/>
              <a:ext cx="366712" cy="366713"/>
            </a:xfrm>
            <a:prstGeom prst="rect">
              <a:avLst/>
            </a:prstGeom>
            <a:solidFill>
              <a:srgbClr val="AED086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2" name="Rectangle 12"/>
            <p:cNvSpPr>
              <a:spLocks noChangeArrowheads="1"/>
            </p:cNvSpPr>
            <p:nvPr userDrawn="1"/>
          </p:nvSpPr>
          <p:spPr bwMode="auto">
            <a:xfrm>
              <a:off x="-781050" y="4781550"/>
              <a:ext cx="366712" cy="366713"/>
            </a:xfrm>
            <a:prstGeom prst="rect">
              <a:avLst/>
            </a:prstGeom>
            <a:solidFill>
              <a:srgbClr val="D6E8C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3" name="Rectangle 12"/>
            <p:cNvSpPr>
              <a:spLocks noChangeArrowheads="1"/>
            </p:cNvSpPr>
            <p:nvPr userDrawn="1"/>
          </p:nvSpPr>
          <p:spPr bwMode="auto">
            <a:xfrm>
              <a:off x="-1601788" y="334963"/>
              <a:ext cx="366713" cy="366712"/>
            </a:xfrm>
            <a:prstGeom prst="rect">
              <a:avLst/>
            </a:prstGeom>
            <a:solidFill>
              <a:srgbClr val="805030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 userDrawn="1"/>
          </p:nvSpPr>
          <p:spPr bwMode="auto">
            <a:xfrm>
              <a:off x="-1601788" y="701675"/>
              <a:ext cx="366713" cy="366713"/>
            </a:xfrm>
            <a:prstGeom prst="rect">
              <a:avLst/>
            </a:prstGeom>
            <a:solidFill>
              <a:srgbClr val="AC6B2F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5" name="Rectangle 12"/>
            <p:cNvSpPr>
              <a:spLocks noChangeArrowheads="1"/>
            </p:cNvSpPr>
            <p:nvPr userDrawn="1"/>
          </p:nvSpPr>
          <p:spPr bwMode="auto">
            <a:xfrm>
              <a:off x="-1601788" y="1068388"/>
              <a:ext cx="366713" cy="366712"/>
            </a:xfrm>
            <a:prstGeom prst="rect">
              <a:avLst/>
            </a:prstGeom>
            <a:solidFill>
              <a:srgbClr val="E4A063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6" name="Rectangle 12"/>
            <p:cNvSpPr>
              <a:spLocks noChangeArrowheads="1"/>
            </p:cNvSpPr>
            <p:nvPr userDrawn="1"/>
          </p:nvSpPr>
          <p:spPr bwMode="auto">
            <a:xfrm>
              <a:off x="-1601788" y="1435100"/>
              <a:ext cx="366713" cy="366713"/>
            </a:xfrm>
            <a:prstGeom prst="rect">
              <a:avLst/>
            </a:prstGeom>
            <a:solidFill>
              <a:srgbClr val="F1D0B1"/>
            </a:solidFill>
            <a:ln>
              <a:noFill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18669F"/>
                </a:solidFill>
                <a:latin typeface="Trebuchet MS"/>
                <a:cs typeface="+mn-cs"/>
              </a:endParaRPr>
            </a:p>
          </p:txBody>
        </p:sp>
        <p:sp>
          <p:nvSpPr>
            <p:cNvPr id="47" name="TextBox 46"/>
            <p:cNvSpPr txBox="1"/>
            <p:nvPr userDrawn="1"/>
          </p:nvSpPr>
          <p:spPr>
            <a:xfrm>
              <a:off x="-393018" y="33110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1-211</a:t>
              </a:r>
            </a:p>
          </p:txBody>
        </p:sp>
        <p:sp>
          <p:nvSpPr>
            <p:cNvPr id="48" name="TextBox 47"/>
            <p:cNvSpPr txBox="1"/>
            <p:nvPr userDrawn="1"/>
          </p:nvSpPr>
          <p:spPr>
            <a:xfrm>
              <a:off x="-393018" y="294099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9-169-169</a:t>
              </a:r>
            </a:p>
          </p:txBody>
        </p:sp>
        <p:sp>
          <p:nvSpPr>
            <p:cNvPr id="49" name="TextBox 48"/>
            <p:cNvSpPr txBox="1"/>
            <p:nvPr userDrawn="1"/>
          </p:nvSpPr>
          <p:spPr>
            <a:xfrm>
              <a:off x="-1620688" y="-28575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55-105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</a:t>
              </a:r>
            </a:p>
          </p:txBody>
        </p:sp>
        <p:sp>
          <p:nvSpPr>
            <p:cNvPr id="50" name="TextBox 49"/>
            <p:cNvSpPr txBox="1"/>
            <p:nvPr userDrawn="1"/>
          </p:nvSpPr>
          <p:spPr>
            <a:xfrm>
              <a:off x="-1193360" y="-2221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102-161</a:t>
              </a:r>
            </a:p>
          </p:txBody>
        </p:sp>
        <p:sp>
          <p:nvSpPr>
            <p:cNvPr id="51" name="TextBox 50"/>
            <p:cNvSpPr txBox="1"/>
            <p:nvPr userDrawn="1"/>
          </p:nvSpPr>
          <p:spPr>
            <a:xfrm>
              <a:off x="-393018" y="-19182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26-26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26</a:t>
              </a:r>
            </a:p>
          </p:txBody>
        </p:sp>
        <p:sp>
          <p:nvSpPr>
            <p:cNvPr id="52" name="TextBox 51"/>
            <p:cNvSpPr txBox="1"/>
            <p:nvPr userDrawn="1"/>
          </p:nvSpPr>
          <p:spPr>
            <a:xfrm>
              <a:off x="-1620688" y="343663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28-80-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48</a:t>
              </a:r>
            </a:p>
          </p:txBody>
        </p:sp>
        <p:sp>
          <p:nvSpPr>
            <p:cNvPr id="53" name="TextBox 52"/>
            <p:cNvSpPr txBox="1"/>
            <p:nvPr userDrawn="1"/>
          </p:nvSpPr>
          <p:spPr>
            <a:xfrm>
              <a:off x="-791292" y="34870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3-134-95</a:t>
              </a:r>
            </a:p>
          </p:txBody>
        </p:sp>
        <p:sp>
          <p:nvSpPr>
            <p:cNvPr id="54" name="TextBox 53"/>
            <p:cNvSpPr txBox="1"/>
            <p:nvPr userDrawn="1"/>
          </p:nvSpPr>
          <p:spPr>
            <a:xfrm>
              <a:off x="-791292" y="-191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06-204-160</a:t>
              </a:r>
            </a:p>
          </p:txBody>
        </p:sp>
        <p:sp>
          <p:nvSpPr>
            <p:cNvPr id="55" name="TextBox 54"/>
            <p:cNvSpPr txBox="1"/>
            <p:nvPr userDrawn="1"/>
          </p:nvSpPr>
          <p:spPr>
            <a:xfrm>
              <a:off x="-1620688" y="715901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2-107-47</a:t>
              </a:r>
            </a:p>
          </p:txBody>
        </p:sp>
        <p:sp>
          <p:nvSpPr>
            <p:cNvPr id="56" name="TextBox 55"/>
            <p:cNvSpPr txBox="1"/>
            <p:nvPr userDrawn="1"/>
          </p:nvSpPr>
          <p:spPr>
            <a:xfrm>
              <a:off x="-791292" y="10844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35-234-212</a:t>
              </a:r>
            </a:p>
          </p:txBody>
        </p:sp>
        <p:sp>
          <p:nvSpPr>
            <p:cNvPr id="57" name="TextBox 56"/>
            <p:cNvSpPr txBox="1"/>
            <p:nvPr userDrawn="1"/>
          </p:nvSpPr>
          <p:spPr>
            <a:xfrm>
              <a:off x="-1620688" y="1088139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8-160-99</a:t>
              </a:r>
            </a:p>
          </p:txBody>
        </p:sp>
        <p:sp>
          <p:nvSpPr>
            <p:cNvPr id="58" name="TextBox 57"/>
            <p:cNvSpPr txBox="1"/>
            <p:nvPr userDrawn="1"/>
          </p:nvSpPr>
          <p:spPr>
            <a:xfrm>
              <a:off x="-791292" y="71659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21-220-180</a:t>
              </a:r>
            </a:p>
          </p:txBody>
        </p:sp>
        <p:sp>
          <p:nvSpPr>
            <p:cNvPr id="59" name="TextBox 58"/>
            <p:cNvSpPr txBox="1"/>
            <p:nvPr userDrawn="1"/>
          </p:nvSpPr>
          <p:spPr>
            <a:xfrm>
              <a:off x="-791292" y="145237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63-168-107</a:t>
              </a:r>
            </a:p>
          </p:txBody>
        </p:sp>
        <p:sp>
          <p:nvSpPr>
            <p:cNvPr id="60" name="TextBox 59"/>
            <p:cNvSpPr txBox="1"/>
            <p:nvPr userDrawn="1"/>
          </p:nvSpPr>
          <p:spPr>
            <a:xfrm>
              <a:off x="-1620688" y="1460376"/>
              <a:ext cx="463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41-208-177</a:t>
              </a:r>
            </a:p>
          </p:txBody>
        </p:sp>
        <p:sp>
          <p:nvSpPr>
            <p:cNvPr id="61" name="TextBox 60"/>
            <p:cNvSpPr txBox="1"/>
            <p:nvPr userDrawn="1"/>
          </p:nvSpPr>
          <p:spPr>
            <a:xfrm>
              <a:off x="-393018" y="146090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44-156-170</a:t>
              </a:r>
            </a:p>
          </p:txBody>
        </p:sp>
        <p:sp>
          <p:nvSpPr>
            <p:cNvPr id="62" name="TextBox 61"/>
            <p:cNvSpPr txBox="1"/>
            <p:nvPr userDrawn="1"/>
          </p:nvSpPr>
          <p:spPr>
            <a:xfrm>
              <a:off x="-392010" y="339502"/>
              <a:ext cx="3600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57-74-88</a:t>
              </a:r>
            </a:p>
          </p:txBody>
        </p:sp>
        <p:sp>
          <p:nvSpPr>
            <p:cNvPr id="63" name="TextBox 62"/>
            <p:cNvSpPr txBox="1"/>
            <p:nvPr userDrawn="1"/>
          </p:nvSpPr>
          <p:spPr>
            <a:xfrm>
              <a:off x="-393018" y="7208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69-93-112</a:t>
              </a:r>
            </a:p>
          </p:txBody>
        </p:sp>
        <p:sp>
          <p:nvSpPr>
            <p:cNvPr id="64" name="TextBox 63"/>
            <p:cNvSpPr txBox="1"/>
            <p:nvPr userDrawn="1"/>
          </p:nvSpPr>
          <p:spPr>
            <a:xfrm>
              <a:off x="-393018" y="109088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04-121-139</a:t>
              </a:r>
            </a:p>
          </p:txBody>
        </p:sp>
        <p:sp>
          <p:nvSpPr>
            <p:cNvPr id="65" name="TextBox 64"/>
            <p:cNvSpPr txBox="1"/>
            <p:nvPr userDrawn="1"/>
          </p:nvSpPr>
          <p:spPr>
            <a:xfrm>
              <a:off x="-393018" y="183092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91-197-206</a:t>
              </a:r>
            </a:p>
          </p:txBody>
        </p:sp>
        <p:sp>
          <p:nvSpPr>
            <p:cNvPr id="66" name="TextBox 65"/>
            <p:cNvSpPr txBox="1"/>
            <p:nvPr userDrawn="1"/>
          </p:nvSpPr>
          <p:spPr>
            <a:xfrm>
              <a:off x="-393018" y="220095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6-96-96</a:t>
              </a:r>
            </a:p>
          </p:txBody>
        </p:sp>
        <p:sp>
          <p:nvSpPr>
            <p:cNvPr id="67" name="TextBox 66"/>
            <p:cNvSpPr txBox="1"/>
            <p:nvPr userDrawn="1"/>
          </p:nvSpPr>
          <p:spPr>
            <a:xfrm>
              <a:off x="-393018" y="257097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130-130-130</a:t>
              </a:r>
            </a:p>
          </p:txBody>
        </p:sp>
        <p:sp>
          <p:nvSpPr>
            <p:cNvPr id="68" name="TextBox 67"/>
            <p:cNvSpPr txBox="1"/>
            <p:nvPr userDrawn="1"/>
          </p:nvSpPr>
          <p:spPr>
            <a:xfrm>
              <a:off x="-791292" y="218815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0-139-92</a:t>
              </a:r>
            </a:p>
          </p:txBody>
        </p:sp>
        <p:sp>
          <p:nvSpPr>
            <p:cNvPr id="69" name="TextBox 68"/>
            <p:cNvSpPr txBox="1"/>
            <p:nvPr userDrawn="1"/>
          </p:nvSpPr>
          <p:spPr>
            <a:xfrm>
              <a:off x="-791292" y="182026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98-107-69</a:t>
              </a:r>
            </a:p>
          </p:txBody>
        </p:sp>
        <p:sp>
          <p:nvSpPr>
            <p:cNvPr id="70" name="TextBox 69"/>
            <p:cNvSpPr txBox="1"/>
            <p:nvPr userDrawn="1"/>
          </p:nvSpPr>
          <p:spPr>
            <a:xfrm>
              <a:off x="-791292" y="2923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1-215-189</a:t>
              </a:r>
            </a:p>
          </p:txBody>
        </p:sp>
        <p:sp>
          <p:nvSpPr>
            <p:cNvPr id="71" name="TextBox 70"/>
            <p:cNvSpPr txBox="1"/>
            <p:nvPr userDrawn="1"/>
          </p:nvSpPr>
          <p:spPr>
            <a:xfrm>
              <a:off x="-791292" y="255604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8-185-137</a:t>
              </a:r>
            </a:p>
          </p:txBody>
        </p:sp>
        <p:sp>
          <p:nvSpPr>
            <p:cNvPr id="72" name="TextBox 71"/>
            <p:cNvSpPr txBox="1"/>
            <p:nvPr userDrawn="1"/>
          </p:nvSpPr>
          <p:spPr>
            <a:xfrm>
              <a:off x="-791292" y="329183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0-214-75</a:t>
              </a:r>
            </a:p>
          </p:txBody>
        </p:sp>
        <p:sp>
          <p:nvSpPr>
            <p:cNvPr id="73" name="TextBox 72"/>
            <p:cNvSpPr txBox="1"/>
            <p:nvPr userDrawn="1"/>
          </p:nvSpPr>
          <p:spPr>
            <a:xfrm>
              <a:off x="-1188640" y="69954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80-124</a:t>
              </a: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-1188640" y="33950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white"/>
                  </a:solidFill>
                  <a:latin typeface="Trebuchet MS"/>
                  <a:cs typeface="+mn-cs"/>
                </a:rPr>
                <a:t>0-51-86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-1195034" y="144006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38-176-210</a:t>
              </a:r>
            </a:p>
          </p:txBody>
        </p:sp>
        <p:sp>
          <p:nvSpPr>
            <p:cNvPr id="76" name="TextBox 75"/>
            <p:cNvSpPr txBox="1"/>
            <p:nvPr userDrawn="1"/>
          </p:nvSpPr>
          <p:spPr>
            <a:xfrm>
              <a:off x="-1178168" y="105958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27-177</a:t>
              </a:r>
            </a:p>
          </p:txBody>
        </p:sp>
        <p:sp>
          <p:nvSpPr>
            <p:cNvPr id="77" name="TextBox 76"/>
            <p:cNvSpPr txBox="1"/>
            <p:nvPr userDrawn="1"/>
          </p:nvSpPr>
          <p:spPr>
            <a:xfrm>
              <a:off x="-1201428" y="182693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0-163-224</a:t>
              </a:r>
            </a:p>
          </p:txBody>
        </p:sp>
        <p:sp>
          <p:nvSpPr>
            <p:cNvPr id="78" name="TextBox 77"/>
            <p:cNvSpPr txBox="1"/>
            <p:nvPr userDrawn="1"/>
          </p:nvSpPr>
          <p:spPr>
            <a:xfrm>
              <a:off x="-788562" y="36573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01-132-70</a:t>
              </a:r>
            </a:p>
          </p:txBody>
        </p:sp>
        <p:sp>
          <p:nvSpPr>
            <p:cNvPr id="79" name="TextBox 78"/>
            <p:cNvSpPr txBox="1"/>
            <p:nvPr userDrawn="1"/>
          </p:nvSpPr>
          <p:spPr>
            <a:xfrm>
              <a:off x="-788562" y="439317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4-208-134</a:t>
              </a:r>
            </a:p>
          </p:txBody>
        </p:sp>
        <p:sp>
          <p:nvSpPr>
            <p:cNvPr id="80" name="TextBox 79"/>
            <p:cNvSpPr txBox="1"/>
            <p:nvPr userDrawn="1"/>
          </p:nvSpPr>
          <p:spPr>
            <a:xfrm>
              <a:off x="-788562" y="402528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27-163-87</a:t>
              </a:r>
            </a:p>
          </p:txBody>
        </p:sp>
        <p:sp>
          <p:nvSpPr>
            <p:cNvPr id="81" name="TextBox 80"/>
            <p:cNvSpPr txBox="1"/>
            <p:nvPr userDrawn="1"/>
          </p:nvSpPr>
          <p:spPr>
            <a:xfrm>
              <a:off x="-788562" y="4761062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214-232-195</a:t>
              </a:r>
            </a:p>
          </p:txBody>
        </p:sp>
        <p:sp>
          <p:nvSpPr>
            <p:cNvPr id="82" name="TextBox 81"/>
            <p:cNvSpPr txBox="1"/>
            <p:nvPr userDrawn="1"/>
          </p:nvSpPr>
          <p:spPr>
            <a:xfrm>
              <a:off x="-1188640" y="2576886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47-135-182</a:t>
              </a:r>
            </a:p>
          </p:txBody>
        </p:sp>
        <p:sp>
          <p:nvSpPr>
            <p:cNvPr id="83" name="TextBox 82"/>
            <p:cNvSpPr txBox="1"/>
            <p:nvPr userDrawn="1"/>
          </p:nvSpPr>
          <p:spPr>
            <a:xfrm>
              <a:off x="-1188640" y="2196404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32-102-137</a:t>
              </a:r>
            </a:p>
          </p:txBody>
        </p:sp>
        <p:sp>
          <p:nvSpPr>
            <p:cNvPr id="84" name="TextBox 83"/>
            <p:cNvSpPr txBox="1"/>
            <p:nvPr userDrawn="1"/>
          </p:nvSpPr>
          <p:spPr>
            <a:xfrm>
              <a:off x="-1201428" y="2931790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97-185-233</a:t>
              </a:r>
            </a:p>
          </p:txBody>
        </p:sp>
        <p:sp>
          <p:nvSpPr>
            <p:cNvPr id="85" name="TextBox 84"/>
            <p:cNvSpPr txBox="1"/>
            <p:nvPr userDrawn="1"/>
          </p:nvSpPr>
          <p:spPr>
            <a:xfrm>
              <a:off x="-1188640" y="3309788"/>
              <a:ext cx="3960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prstClr val="black"/>
                  </a:solidFill>
                  <a:latin typeface="Trebuchet MS"/>
                  <a:cs typeface="+mn-cs"/>
                </a:rPr>
                <a:t>176-220-244</a:t>
              </a:r>
            </a:p>
          </p:txBody>
        </p:sp>
      </p:grpSp>
      <p:grpSp>
        <p:nvGrpSpPr>
          <p:cNvPr id="4" name="Группа 85"/>
          <p:cNvGrpSpPr/>
          <p:nvPr/>
        </p:nvGrpSpPr>
        <p:grpSpPr>
          <a:xfrm>
            <a:off x="8388424" y="115858"/>
            <a:ext cx="473224" cy="216024"/>
            <a:chOff x="1047751" y="5751512"/>
            <a:chExt cx="1016000" cy="455613"/>
          </a:xfrm>
          <a:solidFill>
            <a:srgbClr val="ED1B2F"/>
          </a:solidFill>
        </p:grpSpPr>
        <p:sp>
          <p:nvSpPr>
            <p:cNvPr id="87" name="Freeform 5"/>
            <p:cNvSpPr>
              <a:spLocks/>
            </p:cNvSpPr>
            <p:nvPr/>
          </p:nvSpPr>
          <p:spPr bwMode="auto">
            <a:xfrm>
              <a:off x="1428751" y="5864225"/>
              <a:ext cx="309563" cy="230188"/>
            </a:xfrm>
            <a:custGeom>
              <a:avLst/>
              <a:gdLst>
                <a:gd name="T0" fmla="*/ 105 w 195"/>
                <a:gd name="T1" fmla="*/ 0 h 145"/>
                <a:gd name="T2" fmla="*/ 195 w 195"/>
                <a:gd name="T3" fmla="*/ 0 h 145"/>
                <a:gd name="T4" fmla="*/ 87 w 195"/>
                <a:gd name="T5" fmla="*/ 145 h 145"/>
                <a:gd name="T6" fmla="*/ 0 w 195"/>
                <a:gd name="T7" fmla="*/ 145 h 145"/>
                <a:gd name="T8" fmla="*/ 105 w 195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" h="145">
                  <a:moveTo>
                    <a:pt x="105" y="0"/>
                  </a:moveTo>
                  <a:lnTo>
                    <a:pt x="195" y="0"/>
                  </a:lnTo>
                  <a:lnTo>
                    <a:pt x="87" y="145"/>
                  </a:lnTo>
                  <a:lnTo>
                    <a:pt x="0" y="145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8" name="Freeform 6"/>
            <p:cNvSpPr>
              <a:spLocks/>
            </p:cNvSpPr>
            <p:nvPr/>
          </p:nvSpPr>
          <p:spPr bwMode="auto">
            <a:xfrm>
              <a:off x="1047751" y="5864225"/>
              <a:ext cx="423863" cy="342900"/>
            </a:xfrm>
            <a:custGeom>
              <a:avLst/>
              <a:gdLst>
                <a:gd name="T0" fmla="*/ 0 w 99"/>
                <a:gd name="T1" fmla="*/ 10 h 79"/>
                <a:gd name="T2" fmla="*/ 2 w 99"/>
                <a:gd name="T3" fmla="*/ 2 h 79"/>
                <a:gd name="T4" fmla="*/ 9 w 99"/>
                <a:gd name="T5" fmla="*/ 0 h 79"/>
                <a:gd name="T6" fmla="*/ 64 w 99"/>
                <a:gd name="T7" fmla="*/ 0 h 79"/>
                <a:gd name="T8" fmla="*/ 81 w 99"/>
                <a:gd name="T9" fmla="*/ 2 h 79"/>
                <a:gd name="T10" fmla="*/ 92 w 99"/>
                <a:gd name="T11" fmla="*/ 13 h 79"/>
                <a:gd name="T12" fmla="*/ 95 w 99"/>
                <a:gd name="T13" fmla="*/ 18 h 79"/>
                <a:gd name="T14" fmla="*/ 99 w 99"/>
                <a:gd name="T15" fmla="*/ 27 h 79"/>
                <a:gd name="T16" fmla="*/ 95 w 99"/>
                <a:gd name="T17" fmla="*/ 35 h 79"/>
                <a:gd name="T18" fmla="*/ 82 w 99"/>
                <a:gd name="T19" fmla="*/ 53 h 79"/>
                <a:gd name="T20" fmla="*/ 49 w 99"/>
                <a:gd name="T21" fmla="*/ 53 h 79"/>
                <a:gd name="T22" fmla="*/ 70 w 99"/>
                <a:gd name="T23" fmla="*/ 24 h 79"/>
                <a:gd name="T24" fmla="*/ 73 w 99"/>
                <a:gd name="T25" fmla="*/ 16 h 79"/>
                <a:gd name="T26" fmla="*/ 65 w 99"/>
                <a:gd name="T27" fmla="*/ 13 h 79"/>
                <a:gd name="T28" fmla="*/ 39 w 99"/>
                <a:gd name="T29" fmla="*/ 13 h 79"/>
                <a:gd name="T30" fmla="*/ 39 w 99"/>
                <a:gd name="T31" fmla="*/ 79 h 79"/>
                <a:gd name="T32" fmla="*/ 13 w 99"/>
                <a:gd name="T33" fmla="*/ 79 h 79"/>
                <a:gd name="T34" fmla="*/ 13 w 99"/>
                <a:gd name="T35" fmla="*/ 13 h 79"/>
                <a:gd name="T36" fmla="*/ 0 w 99"/>
                <a:gd name="T37" fmla="*/ 13 h 79"/>
                <a:gd name="T38" fmla="*/ 0 w 99"/>
                <a:gd name="T39" fmla="*/ 1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9" h="79">
                  <a:moveTo>
                    <a:pt x="0" y="10"/>
                  </a:moveTo>
                  <a:cubicBezTo>
                    <a:pt x="0" y="7"/>
                    <a:pt x="0" y="5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71" y="0"/>
                    <a:pt x="76" y="0"/>
                    <a:pt x="81" y="2"/>
                  </a:cubicBezTo>
                  <a:cubicBezTo>
                    <a:pt x="85" y="5"/>
                    <a:pt x="89" y="9"/>
                    <a:pt x="92" y="13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7" y="21"/>
                    <a:pt x="99" y="23"/>
                    <a:pt x="99" y="27"/>
                  </a:cubicBezTo>
                  <a:cubicBezTo>
                    <a:pt x="99" y="30"/>
                    <a:pt x="97" y="32"/>
                    <a:pt x="95" y="35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2" y="22"/>
                    <a:pt x="74" y="19"/>
                    <a:pt x="73" y="16"/>
                  </a:cubicBezTo>
                  <a:cubicBezTo>
                    <a:pt x="71" y="13"/>
                    <a:pt x="68" y="13"/>
                    <a:pt x="65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0" y="13"/>
                    <a:pt x="0" y="13"/>
                    <a:pt x="0" y="13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  <p:sp>
          <p:nvSpPr>
            <p:cNvPr id="89" name="Freeform 7"/>
            <p:cNvSpPr>
              <a:spLocks/>
            </p:cNvSpPr>
            <p:nvPr/>
          </p:nvSpPr>
          <p:spPr bwMode="auto">
            <a:xfrm>
              <a:off x="1690688" y="5751512"/>
              <a:ext cx="373063" cy="342900"/>
            </a:xfrm>
            <a:custGeom>
              <a:avLst/>
              <a:gdLst>
                <a:gd name="T0" fmla="*/ 17 w 87"/>
                <a:gd name="T1" fmla="*/ 9 h 79"/>
                <a:gd name="T2" fmla="*/ 17 w 87"/>
                <a:gd name="T3" fmla="*/ 13 h 79"/>
                <a:gd name="T4" fmla="*/ 50 w 87"/>
                <a:gd name="T5" fmla="*/ 13 h 79"/>
                <a:gd name="T6" fmla="*/ 58 w 87"/>
                <a:gd name="T7" fmla="*/ 15 h 79"/>
                <a:gd name="T8" fmla="*/ 60 w 87"/>
                <a:gd name="T9" fmla="*/ 23 h 79"/>
                <a:gd name="T10" fmla="*/ 60 w 87"/>
                <a:gd name="T11" fmla="*/ 56 h 79"/>
                <a:gd name="T12" fmla="*/ 58 w 87"/>
                <a:gd name="T13" fmla="*/ 63 h 79"/>
                <a:gd name="T14" fmla="*/ 50 w 87"/>
                <a:gd name="T15" fmla="*/ 66 h 79"/>
                <a:gd name="T16" fmla="*/ 34 w 87"/>
                <a:gd name="T17" fmla="*/ 66 h 79"/>
                <a:gd name="T18" fmla="*/ 27 w 87"/>
                <a:gd name="T19" fmla="*/ 63 h 79"/>
                <a:gd name="T20" fmla="*/ 29 w 87"/>
                <a:gd name="T21" fmla="*/ 55 h 79"/>
                <a:gd name="T22" fmla="*/ 50 w 87"/>
                <a:gd name="T23" fmla="*/ 26 h 79"/>
                <a:gd name="T24" fmla="*/ 17 w 87"/>
                <a:gd name="T25" fmla="*/ 26 h 79"/>
                <a:gd name="T26" fmla="*/ 4 w 87"/>
                <a:gd name="T27" fmla="*/ 44 h 79"/>
                <a:gd name="T28" fmla="*/ 0 w 87"/>
                <a:gd name="T29" fmla="*/ 53 h 79"/>
                <a:gd name="T30" fmla="*/ 4 w 87"/>
                <a:gd name="T31" fmla="*/ 61 h 79"/>
                <a:gd name="T32" fmla="*/ 8 w 87"/>
                <a:gd name="T33" fmla="*/ 66 h 79"/>
                <a:gd name="T34" fmla="*/ 19 w 87"/>
                <a:gd name="T35" fmla="*/ 77 h 79"/>
                <a:gd name="T36" fmla="*/ 35 w 87"/>
                <a:gd name="T37" fmla="*/ 79 h 79"/>
                <a:gd name="T38" fmla="*/ 50 w 87"/>
                <a:gd name="T39" fmla="*/ 79 h 79"/>
                <a:gd name="T40" fmla="*/ 78 w 87"/>
                <a:gd name="T41" fmla="*/ 71 h 79"/>
                <a:gd name="T42" fmla="*/ 87 w 87"/>
                <a:gd name="T43" fmla="*/ 46 h 79"/>
                <a:gd name="T44" fmla="*/ 87 w 87"/>
                <a:gd name="T45" fmla="*/ 33 h 79"/>
                <a:gd name="T46" fmla="*/ 78 w 87"/>
                <a:gd name="T47" fmla="*/ 8 h 79"/>
                <a:gd name="T48" fmla="*/ 50 w 87"/>
                <a:gd name="T49" fmla="*/ 0 h 79"/>
                <a:gd name="T50" fmla="*/ 27 w 87"/>
                <a:gd name="T51" fmla="*/ 0 h 79"/>
                <a:gd name="T52" fmla="*/ 20 w 87"/>
                <a:gd name="T53" fmla="*/ 2 h 79"/>
                <a:gd name="T54" fmla="*/ 17 w 87"/>
                <a:gd name="T55" fmla="*/ 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7" h="79">
                  <a:moveTo>
                    <a:pt x="17" y="9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3" y="13"/>
                    <a:pt x="56" y="13"/>
                    <a:pt x="58" y="15"/>
                  </a:cubicBezTo>
                  <a:cubicBezTo>
                    <a:pt x="60" y="17"/>
                    <a:pt x="60" y="21"/>
                    <a:pt x="60" y="23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8"/>
                    <a:pt x="60" y="61"/>
                    <a:pt x="58" y="63"/>
                  </a:cubicBezTo>
                  <a:cubicBezTo>
                    <a:pt x="56" y="66"/>
                    <a:pt x="53" y="66"/>
                    <a:pt x="50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2" y="66"/>
                    <a:pt x="28" y="66"/>
                    <a:pt x="27" y="63"/>
                  </a:cubicBezTo>
                  <a:cubicBezTo>
                    <a:pt x="25" y="60"/>
                    <a:pt x="27" y="57"/>
                    <a:pt x="29" y="55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2" y="47"/>
                    <a:pt x="0" y="49"/>
                    <a:pt x="0" y="53"/>
                  </a:cubicBezTo>
                  <a:cubicBezTo>
                    <a:pt x="0" y="56"/>
                    <a:pt x="2" y="58"/>
                    <a:pt x="4" y="61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11" y="70"/>
                    <a:pt x="14" y="74"/>
                    <a:pt x="19" y="77"/>
                  </a:cubicBezTo>
                  <a:cubicBezTo>
                    <a:pt x="23" y="79"/>
                    <a:pt x="28" y="79"/>
                    <a:pt x="35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8" y="79"/>
                    <a:pt x="70" y="79"/>
                    <a:pt x="78" y="71"/>
                  </a:cubicBezTo>
                  <a:cubicBezTo>
                    <a:pt x="87" y="62"/>
                    <a:pt x="87" y="50"/>
                    <a:pt x="87" y="46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28"/>
                    <a:pt x="87" y="16"/>
                    <a:pt x="78" y="8"/>
                  </a:cubicBezTo>
                  <a:cubicBezTo>
                    <a:pt x="70" y="0"/>
                    <a:pt x="58" y="0"/>
                    <a:pt x="50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2" y="0"/>
                    <a:pt x="20" y="2"/>
                  </a:cubicBezTo>
                  <a:cubicBezTo>
                    <a:pt x="17" y="4"/>
                    <a:pt x="17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black"/>
                </a:solidFill>
                <a:latin typeface="Trebuchet MS"/>
                <a:cs typeface="+mn-cs"/>
              </a:endParaRPr>
            </a:p>
          </p:txBody>
        </p:sp>
      </p:grpSp>
      <p:cxnSp>
        <p:nvCxnSpPr>
          <p:cNvPr id="90" name="Прямая соединительная линия 89"/>
          <p:cNvCxnSpPr/>
          <p:nvPr/>
        </p:nvCxnSpPr>
        <p:spPr>
          <a:xfrm>
            <a:off x="467546" y="519521"/>
            <a:ext cx="7600667" cy="0"/>
          </a:xfrm>
          <a:prstGeom prst="line">
            <a:avLst/>
          </a:prstGeom>
          <a:ln w="127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Овал 90"/>
          <p:cNvSpPr/>
          <p:nvPr/>
        </p:nvSpPr>
        <p:spPr>
          <a:xfrm>
            <a:off x="567844" y="483518"/>
            <a:ext cx="72008" cy="72008"/>
          </a:xfrm>
          <a:prstGeom prst="ellipse">
            <a:avLst/>
          </a:prstGeom>
          <a:solidFill>
            <a:schemeClr val="bg1"/>
          </a:solidFill>
          <a:ln w="22225">
            <a:solidFill>
              <a:srgbClr val="ED1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5"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" y="519520"/>
            <a:ext cx="567842" cy="0"/>
          </a:xfrm>
          <a:prstGeom prst="line">
            <a:avLst/>
          </a:prstGeom>
          <a:ln w="22225">
            <a:solidFill>
              <a:srgbClr val="ED1B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49" r:id="rId1"/>
    <p:sldLayoutId id="2147484550" r:id="rId2"/>
    <p:sldLayoutId id="2147484551" r:id="rId3"/>
    <p:sldLayoutId id="2147484552" r:id="rId4"/>
    <p:sldLayoutId id="2147484553" r:id="rId5"/>
    <p:sldLayoutId id="2147484554" r:id="rId6"/>
    <p:sldLayoutId id="2147484555" r:id="rId7"/>
    <p:sldLayoutId id="2147484556" r:id="rId8"/>
    <p:sldLayoutId id="2147484557" r:id="rId9"/>
    <p:sldLayoutId id="2147484558" r:id="rId10"/>
    <p:sldLayoutId id="2147484559" r:id="rId11"/>
    <p:sldLayoutId id="2147484560" r:id="rId12"/>
    <p:sldLayoutId id="2147484561" r:id="rId13"/>
    <p:sldLayoutId id="2147484562" r:id="rId14"/>
    <p:sldLayoutId id="2147484564" r:id="rId15"/>
    <p:sldLayoutId id="2147484565" r:id="rId16"/>
    <p:sldLayoutId id="2147484566" r:id="rId17"/>
    <p:sldLayoutId id="2147484567" r:id="rId18"/>
    <p:sldLayoutId id="2147484568" r:id="rId19"/>
    <p:sldLayoutId id="2147484569" r:id="rId20"/>
    <p:sldLayoutId id="2147484570" r:id="rId21"/>
    <p:sldLayoutId id="2147484571" r:id="rId22"/>
    <p:sldLayoutId id="2147484572" r:id="rId23"/>
    <p:sldLayoutId id="2147484573" r:id="rId24"/>
    <p:sldLayoutId id="2147484574" r:id="rId25"/>
    <p:sldLayoutId id="2147484575" r:id="rId26"/>
    <p:sldLayoutId id="2147484576" r:id="rId27"/>
    <p:sldLayoutId id="2147484577" r:id="rId28"/>
    <p:sldLayoutId id="2147484578" r:id="rId29"/>
    <p:sldLayoutId id="2147484579" r:id="rId30"/>
    <p:sldLayoutId id="2147484580" r:id="rId31"/>
    <p:sldLayoutId id="2147484581" r:id="rId32"/>
    <p:sldLayoutId id="2147484582" r:id="rId33"/>
    <p:sldLayoutId id="2147484583" r:id="rId34"/>
    <p:sldLayoutId id="2147484584" r:id="rId35"/>
    <p:sldLayoutId id="2147484585" r:id="rId36"/>
    <p:sldLayoutId id="2147484586" r:id="rId37"/>
    <p:sldLayoutId id="2147484590" r:id="rId38"/>
    <p:sldLayoutId id="2147484592" r:id="rId39"/>
    <p:sldLayoutId id="2147484593" r:id="rId40"/>
    <p:sldLayoutId id="2147484596" r:id="rId41"/>
    <p:sldLayoutId id="2147484597" r:id="rId42"/>
    <p:sldLayoutId id="2147484600" r:id="rId4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12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Блок-схема: данные 4"/>
          <p:cNvSpPr/>
          <p:nvPr/>
        </p:nvSpPr>
        <p:spPr bwMode="auto">
          <a:xfrm>
            <a:off x="0" y="3436938"/>
            <a:ext cx="9142413" cy="62865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316 w 10000"/>
              <a:gd name="connsiteY3" fmla="*/ 10083 h 10083"/>
              <a:gd name="connsiteX4" fmla="*/ 0 w 10000"/>
              <a:gd name="connsiteY4" fmla="*/ 10000 h 10083"/>
              <a:gd name="connsiteX0" fmla="*/ 0 w 10000"/>
              <a:gd name="connsiteY0" fmla="*/ 10000 h 10083"/>
              <a:gd name="connsiteX1" fmla="*/ 2000 w 10000"/>
              <a:gd name="connsiteY1" fmla="*/ 0 h 10083"/>
              <a:gd name="connsiteX2" fmla="*/ 10000 w 10000"/>
              <a:gd name="connsiteY2" fmla="*/ 0 h 10083"/>
              <a:gd name="connsiteX3" fmla="*/ 9840 w 10000"/>
              <a:gd name="connsiteY3" fmla="*/ 2397 h 10083"/>
              <a:gd name="connsiteX4" fmla="*/ 9316 w 10000"/>
              <a:gd name="connsiteY4" fmla="*/ 10083 h 10083"/>
              <a:gd name="connsiteX5" fmla="*/ 0 w 10000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442"/>
              <a:gd name="connsiteY0" fmla="*/ 10000 h 10083"/>
              <a:gd name="connsiteX1" fmla="*/ 2000 w 10442"/>
              <a:gd name="connsiteY1" fmla="*/ 0 h 10083"/>
              <a:gd name="connsiteX2" fmla="*/ 10000 w 10442"/>
              <a:gd name="connsiteY2" fmla="*/ 0 h 10083"/>
              <a:gd name="connsiteX3" fmla="*/ 10439 w 10442"/>
              <a:gd name="connsiteY3" fmla="*/ 661 h 10083"/>
              <a:gd name="connsiteX4" fmla="*/ 9316 w 10442"/>
              <a:gd name="connsiteY4" fmla="*/ 10083 h 10083"/>
              <a:gd name="connsiteX5" fmla="*/ 0 w 10442"/>
              <a:gd name="connsiteY5" fmla="*/ 10000 h 10083"/>
              <a:gd name="connsiteX0" fmla="*/ 0 w 10717"/>
              <a:gd name="connsiteY0" fmla="*/ 10000 h 10083"/>
              <a:gd name="connsiteX1" fmla="*/ 2000 w 10717"/>
              <a:gd name="connsiteY1" fmla="*/ 0 h 10083"/>
              <a:gd name="connsiteX2" fmla="*/ 10000 w 10717"/>
              <a:gd name="connsiteY2" fmla="*/ 0 h 10083"/>
              <a:gd name="connsiteX3" fmla="*/ 10439 w 10717"/>
              <a:gd name="connsiteY3" fmla="*/ 661 h 10083"/>
              <a:gd name="connsiteX4" fmla="*/ 9316 w 10717"/>
              <a:gd name="connsiteY4" fmla="*/ 10083 h 10083"/>
              <a:gd name="connsiteX5" fmla="*/ 0 w 10717"/>
              <a:gd name="connsiteY5" fmla="*/ 10000 h 10083"/>
              <a:gd name="connsiteX0" fmla="*/ 0 w 10442"/>
              <a:gd name="connsiteY0" fmla="*/ 10000 h 11431"/>
              <a:gd name="connsiteX1" fmla="*/ 2000 w 10442"/>
              <a:gd name="connsiteY1" fmla="*/ 0 h 11431"/>
              <a:gd name="connsiteX2" fmla="*/ 10000 w 10442"/>
              <a:gd name="connsiteY2" fmla="*/ 0 h 11431"/>
              <a:gd name="connsiteX3" fmla="*/ 10439 w 10442"/>
              <a:gd name="connsiteY3" fmla="*/ 661 h 11431"/>
              <a:gd name="connsiteX4" fmla="*/ 9316 w 10442"/>
              <a:gd name="connsiteY4" fmla="*/ 10083 h 11431"/>
              <a:gd name="connsiteX5" fmla="*/ 0 w 10442"/>
              <a:gd name="connsiteY5" fmla="*/ 10000 h 11431"/>
              <a:gd name="connsiteX0" fmla="*/ 0 w 10442"/>
              <a:gd name="connsiteY0" fmla="*/ 10000 h 10184"/>
              <a:gd name="connsiteX1" fmla="*/ 2000 w 10442"/>
              <a:gd name="connsiteY1" fmla="*/ 0 h 10184"/>
              <a:gd name="connsiteX2" fmla="*/ 10000 w 10442"/>
              <a:gd name="connsiteY2" fmla="*/ 0 h 10184"/>
              <a:gd name="connsiteX3" fmla="*/ 10439 w 10442"/>
              <a:gd name="connsiteY3" fmla="*/ 661 h 10184"/>
              <a:gd name="connsiteX4" fmla="*/ 9316 w 10442"/>
              <a:gd name="connsiteY4" fmla="*/ 10083 h 10184"/>
              <a:gd name="connsiteX5" fmla="*/ 0 w 10442"/>
              <a:gd name="connsiteY5" fmla="*/ 10000 h 10184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8899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121"/>
              <a:gd name="connsiteX1" fmla="*/ 2000 w 10442"/>
              <a:gd name="connsiteY1" fmla="*/ 0 h 10121"/>
              <a:gd name="connsiteX2" fmla="*/ 10000 w 10442"/>
              <a:gd name="connsiteY2" fmla="*/ 0 h 10121"/>
              <a:gd name="connsiteX3" fmla="*/ 10439 w 10442"/>
              <a:gd name="connsiteY3" fmla="*/ 661 h 10121"/>
              <a:gd name="connsiteX4" fmla="*/ 9102 w 10442"/>
              <a:gd name="connsiteY4" fmla="*/ 10000 h 10121"/>
              <a:gd name="connsiteX5" fmla="*/ 0 w 10442"/>
              <a:gd name="connsiteY5" fmla="*/ 10000 h 10121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442"/>
              <a:gd name="connsiteY0" fmla="*/ 10000 h 10067"/>
              <a:gd name="connsiteX1" fmla="*/ 2000 w 10442"/>
              <a:gd name="connsiteY1" fmla="*/ 0 h 10067"/>
              <a:gd name="connsiteX2" fmla="*/ 10000 w 10442"/>
              <a:gd name="connsiteY2" fmla="*/ 0 h 10067"/>
              <a:gd name="connsiteX3" fmla="*/ 10439 w 10442"/>
              <a:gd name="connsiteY3" fmla="*/ 661 h 10067"/>
              <a:gd name="connsiteX4" fmla="*/ 9198 w 10442"/>
              <a:gd name="connsiteY4" fmla="*/ 9917 h 10067"/>
              <a:gd name="connsiteX5" fmla="*/ 0 w 10442"/>
              <a:gd name="connsiteY5" fmla="*/ 10000 h 10067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0697"/>
              <a:gd name="connsiteY0" fmla="*/ 10135 h 10202"/>
              <a:gd name="connsiteX1" fmla="*/ 2000 w 10697"/>
              <a:gd name="connsiteY1" fmla="*/ 135 h 10202"/>
              <a:gd name="connsiteX2" fmla="*/ 10000 w 10697"/>
              <a:gd name="connsiteY2" fmla="*/ 135 h 10202"/>
              <a:gd name="connsiteX3" fmla="*/ 10335 w 10697"/>
              <a:gd name="connsiteY3" fmla="*/ 417 h 10202"/>
              <a:gd name="connsiteX4" fmla="*/ 10439 w 10697"/>
              <a:gd name="connsiteY4" fmla="*/ 796 h 10202"/>
              <a:gd name="connsiteX5" fmla="*/ 9198 w 10697"/>
              <a:gd name="connsiteY5" fmla="*/ 10052 h 10202"/>
              <a:gd name="connsiteX6" fmla="*/ 0 w 10697"/>
              <a:gd name="connsiteY6" fmla="*/ 10135 h 10202"/>
              <a:gd name="connsiteX0" fmla="*/ 0 w 11090"/>
              <a:gd name="connsiteY0" fmla="*/ 14402 h 14469"/>
              <a:gd name="connsiteX1" fmla="*/ 2000 w 11090"/>
              <a:gd name="connsiteY1" fmla="*/ 4402 h 14469"/>
              <a:gd name="connsiteX2" fmla="*/ 10000 w 11090"/>
              <a:gd name="connsiteY2" fmla="*/ 4402 h 14469"/>
              <a:gd name="connsiteX3" fmla="*/ 11084 w 11090"/>
              <a:gd name="connsiteY3" fmla="*/ 1 h 14469"/>
              <a:gd name="connsiteX4" fmla="*/ 10439 w 11090"/>
              <a:gd name="connsiteY4" fmla="*/ 5063 h 14469"/>
              <a:gd name="connsiteX5" fmla="*/ 9198 w 11090"/>
              <a:gd name="connsiteY5" fmla="*/ 14319 h 14469"/>
              <a:gd name="connsiteX6" fmla="*/ 0 w 11090"/>
              <a:gd name="connsiteY6" fmla="*/ 14402 h 14469"/>
              <a:gd name="connsiteX0" fmla="*/ 0 w 11090"/>
              <a:gd name="connsiteY0" fmla="*/ 14401 h 14468"/>
              <a:gd name="connsiteX1" fmla="*/ 2000 w 11090"/>
              <a:gd name="connsiteY1" fmla="*/ 4401 h 14468"/>
              <a:gd name="connsiteX2" fmla="*/ 10000 w 11090"/>
              <a:gd name="connsiteY2" fmla="*/ 4401 h 14468"/>
              <a:gd name="connsiteX3" fmla="*/ 11084 w 11090"/>
              <a:gd name="connsiteY3" fmla="*/ 0 h 14468"/>
              <a:gd name="connsiteX4" fmla="*/ 10439 w 11090"/>
              <a:gd name="connsiteY4" fmla="*/ 5062 h 14468"/>
              <a:gd name="connsiteX5" fmla="*/ 9198 w 11090"/>
              <a:gd name="connsiteY5" fmla="*/ 14318 h 14468"/>
              <a:gd name="connsiteX6" fmla="*/ 0 w 11090"/>
              <a:gd name="connsiteY6" fmla="*/ 14401 h 14468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338"/>
              <a:gd name="connsiteY0" fmla="*/ 15792 h 15859"/>
              <a:gd name="connsiteX1" fmla="*/ 2000 w 11338"/>
              <a:gd name="connsiteY1" fmla="*/ 5792 h 15859"/>
              <a:gd name="connsiteX2" fmla="*/ 10000 w 11338"/>
              <a:gd name="connsiteY2" fmla="*/ 5792 h 15859"/>
              <a:gd name="connsiteX3" fmla="*/ 11084 w 11338"/>
              <a:gd name="connsiteY3" fmla="*/ 1391 h 15859"/>
              <a:gd name="connsiteX4" fmla="*/ 10439 w 11338"/>
              <a:gd name="connsiteY4" fmla="*/ 6453 h 15859"/>
              <a:gd name="connsiteX5" fmla="*/ 9198 w 11338"/>
              <a:gd name="connsiteY5" fmla="*/ 15709 h 15859"/>
              <a:gd name="connsiteX6" fmla="*/ 0 w 11338"/>
              <a:gd name="connsiteY6" fmla="*/ 15792 h 15859"/>
              <a:gd name="connsiteX0" fmla="*/ 0 w 11338"/>
              <a:gd name="connsiteY0" fmla="*/ 14401 h 14468"/>
              <a:gd name="connsiteX1" fmla="*/ 2000 w 11338"/>
              <a:gd name="connsiteY1" fmla="*/ 4401 h 14468"/>
              <a:gd name="connsiteX2" fmla="*/ 10000 w 11338"/>
              <a:gd name="connsiteY2" fmla="*/ 4401 h 14468"/>
              <a:gd name="connsiteX3" fmla="*/ 11084 w 11338"/>
              <a:gd name="connsiteY3" fmla="*/ 0 h 14468"/>
              <a:gd name="connsiteX4" fmla="*/ 10439 w 11338"/>
              <a:gd name="connsiteY4" fmla="*/ 5062 h 14468"/>
              <a:gd name="connsiteX5" fmla="*/ 9198 w 11338"/>
              <a:gd name="connsiteY5" fmla="*/ 14318 h 14468"/>
              <a:gd name="connsiteX6" fmla="*/ 0 w 11338"/>
              <a:gd name="connsiteY6" fmla="*/ 14401 h 14468"/>
              <a:gd name="connsiteX0" fmla="*/ 0 w 11258"/>
              <a:gd name="connsiteY0" fmla="*/ 15712 h 15779"/>
              <a:gd name="connsiteX1" fmla="*/ 2000 w 11258"/>
              <a:gd name="connsiteY1" fmla="*/ 5712 h 15779"/>
              <a:gd name="connsiteX2" fmla="*/ 10000 w 11258"/>
              <a:gd name="connsiteY2" fmla="*/ 5712 h 15779"/>
              <a:gd name="connsiteX3" fmla="*/ 11084 w 11258"/>
              <a:gd name="connsiteY3" fmla="*/ 1311 h 15779"/>
              <a:gd name="connsiteX4" fmla="*/ 10439 w 11258"/>
              <a:gd name="connsiteY4" fmla="*/ 6373 h 15779"/>
              <a:gd name="connsiteX5" fmla="*/ 9198 w 11258"/>
              <a:gd name="connsiteY5" fmla="*/ 15629 h 15779"/>
              <a:gd name="connsiteX6" fmla="*/ 0 w 11258"/>
              <a:gd name="connsiteY6" fmla="*/ 15712 h 15779"/>
              <a:gd name="connsiteX0" fmla="*/ 0 w 13793"/>
              <a:gd name="connsiteY0" fmla="*/ 11590 h 11657"/>
              <a:gd name="connsiteX1" fmla="*/ 2000 w 13793"/>
              <a:gd name="connsiteY1" fmla="*/ 1590 h 11657"/>
              <a:gd name="connsiteX2" fmla="*/ 10000 w 13793"/>
              <a:gd name="connsiteY2" fmla="*/ 1590 h 11657"/>
              <a:gd name="connsiteX3" fmla="*/ 13731 w 13793"/>
              <a:gd name="connsiteY3" fmla="*/ 2217 h 11657"/>
              <a:gd name="connsiteX4" fmla="*/ 10439 w 13793"/>
              <a:gd name="connsiteY4" fmla="*/ 2251 h 11657"/>
              <a:gd name="connsiteX5" fmla="*/ 9198 w 13793"/>
              <a:gd name="connsiteY5" fmla="*/ 11507 h 11657"/>
              <a:gd name="connsiteX6" fmla="*/ 0 w 13793"/>
              <a:gd name="connsiteY6" fmla="*/ 11590 h 11657"/>
              <a:gd name="connsiteX0" fmla="*/ 0 w 13731"/>
              <a:gd name="connsiteY0" fmla="*/ 11590 h 11657"/>
              <a:gd name="connsiteX1" fmla="*/ 2000 w 13731"/>
              <a:gd name="connsiteY1" fmla="*/ 1590 h 11657"/>
              <a:gd name="connsiteX2" fmla="*/ 10000 w 13731"/>
              <a:gd name="connsiteY2" fmla="*/ 1590 h 11657"/>
              <a:gd name="connsiteX3" fmla="*/ 13731 w 13731"/>
              <a:gd name="connsiteY3" fmla="*/ 2217 h 11657"/>
              <a:gd name="connsiteX4" fmla="*/ 10439 w 13731"/>
              <a:gd name="connsiteY4" fmla="*/ 2251 h 11657"/>
              <a:gd name="connsiteX5" fmla="*/ 9198 w 13731"/>
              <a:gd name="connsiteY5" fmla="*/ 11507 h 11657"/>
              <a:gd name="connsiteX6" fmla="*/ 0 w 13731"/>
              <a:gd name="connsiteY6" fmla="*/ 11590 h 11657"/>
              <a:gd name="connsiteX0" fmla="*/ 0 w 13732"/>
              <a:gd name="connsiteY0" fmla="*/ 10000 h 10067"/>
              <a:gd name="connsiteX1" fmla="*/ 2000 w 13732"/>
              <a:gd name="connsiteY1" fmla="*/ 0 h 10067"/>
              <a:gd name="connsiteX2" fmla="*/ 10000 w 13732"/>
              <a:gd name="connsiteY2" fmla="*/ 0 h 10067"/>
              <a:gd name="connsiteX3" fmla="*/ 13731 w 13732"/>
              <a:gd name="connsiteY3" fmla="*/ 627 h 10067"/>
              <a:gd name="connsiteX4" fmla="*/ 10439 w 13732"/>
              <a:gd name="connsiteY4" fmla="*/ 661 h 10067"/>
              <a:gd name="connsiteX5" fmla="*/ 9198 w 13732"/>
              <a:gd name="connsiteY5" fmla="*/ 9917 h 10067"/>
              <a:gd name="connsiteX6" fmla="*/ 0 w 13732"/>
              <a:gd name="connsiteY6" fmla="*/ 10000 h 10067"/>
              <a:gd name="connsiteX0" fmla="*/ 0 w 13734"/>
              <a:gd name="connsiteY0" fmla="*/ 10000 h 10067"/>
              <a:gd name="connsiteX1" fmla="*/ 2000 w 13734"/>
              <a:gd name="connsiteY1" fmla="*/ 0 h 10067"/>
              <a:gd name="connsiteX2" fmla="*/ 10000 w 13734"/>
              <a:gd name="connsiteY2" fmla="*/ 0 h 10067"/>
              <a:gd name="connsiteX3" fmla="*/ 13731 w 13734"/>
              <a:gd name="connsiteY3" fmla="*/ 627 h 10067"/>
              <a:gd name="connsiteX4" fmla="*/ 10439 w 13734"/>
              <a:gd name="connsiteY4" fmla="*/ 661 h 10067"/>
              <a:gd name="connsiteX5" fmla="*/ 9198 w 13734"/>
              <a:gd name="connsiteY5" fmla="*/ 9917 h 10067"/>
              <a:gd name="connsiteX6" fmla="*/ 0 w 13734"/>
              <a:gd name="connsiteY6" fmla="*/ 10000 h 10067"/>
              <a:gd name="connsiteX0" fmla="*/ 0 w 13740"/>
              <a:gd name="connsiteY0" fmla="*/ 10969 h 11036"/>
              <a:gd name="connsiteX1" fmla="*/ 2000 w 13740"/>
              <a:gd name="connsiteY1" fmla="*/ 969 h 11036"/>
              <a:gd name="connsiteX2" fmla="*/ 10000 w 13740"/>
              <a:gd name="connsiteY2" fmla="*/ 969 h 11036"/>
              <a:gd name="connsiteX3" fmla="*/ 13731 w 13740"/>
              <a:gd name="connsiteY3" fmla="*/ 1596 h 11036"/>
              <a:gd name="connsiteX4" fmla="*/ 10439 w 13740"/>
              <a:gd name="connsiteY4" fmla="*/ 1630 h 11036"/>
              <a:gd name="connsiteX5" fmla="*/ 9198 w 13740"/>
              <a:gd name="connsiteY5" fmla="*/ 10886 h 11036"/>
              <a:gd name="connsiteX6" fmla="*/ 0 w 13740"/>
              <a:gd name="connsiteY6" fmla="*/ 10969 h 11036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4089"/>
              <a:gd name="connsiteY0" fmla="*/ 10847 h 10914"/>
              <a:gd name="connsiteX1" fmla="*/ 2000 w 14089"/>
              <a:gd name="connsiteY1" fmla="*/ 847 h 10914"/>
              <a:gd name="connsiteX2" fmla="*/ 10000 w 14089"/>
              <a:gd name="connsiteY2" fmla="*/ 847 h 10914"/>
              <a:gd name="connsiteX3" fmla="*/ 13582 w 14089"/>
              <a:gd name="connsiteY3" fmla="*/ 10 h 10914"/>
              <a:gd name="connsiteX4" fmla="*/ 13731 w 14089"/>
              <a:gd name="connsiteY4" fmla="*/ 1474 h 10914"/>
              <a:gd name="connsiteX5" fmla="*/ 10439 w 14089"/>
              <a:gd name="connsiteY5" fmla="*/ 1508 h 10914"/>
              <a:gd name="connsiteX6" fmla="*/ 9198 w 14089"/>
              <a:gd name="connsiteY6" fmla="*/ 10764 h 10914"/>
              <a:gd name="connsiteX7" fmla="*/ 0 w 14089"/>
              <a:gd name="connsiteY7" fmla="*/ 10847 h 10914"/>
              <a:gd name="connsiteX0" fmla="*/ 0 w 13938"/>
              <a:gd name="connsiteY0" fmla="*/ 11006 h 11073"/>
              <a:gd name="connsiteX1" fmla="*/ 2000 w 13938"/>
              <a:gd name="connsiteY1" fmla="*/ 1006 h 11073"/>
              <a:gd name="connsiteX2" fmla="*/ 10000 w 13938"/>
              <a:gd name="connsiteY2" fmla="*/ 1006 h 11073"/>
              <a:gd name="connsiteX3" fmla="*/ 13582 w 13938"/>
              <a:gd name="connsiteY3" fmla="*/ 169 h 11073"/>
              <a:gd name="connsiteX4" fmla="*/ 13731 w 13938"/>
              <a:gd name="connsiteY4" fmla="*/ 1633 h 11073"/>
              <a:gd name="connsiteX5" fmla="*/ 10439 w 13938"/>
              <a:gd name="connsiteY5" fmla="*/ 1667 h 11073"/>
              <a:gd name="connsiteX6" fmla="*/ 9198 w 13938"/>
              <a:gd name="connsiteY6" fmla="*/ 10923 h 11073"/>
              <a:gd name="connsiteX7" fmla="*/ 0 w 13938"/>
              <a:gd name="connsiteY7" fmla="*/ 11006 h 11073"/>
              <a:gd name="connsiteX0" fmla="*/ 0 w 13930"/>
              <a:gd name="connsiteY0" fmla="*/ 11006 h 11073"/>
              <a:gd name="connsiteX1" fmla="*/ 2000 w 13930"/>
              <a:gd name="connsiteY1" fmla="*/ 1006 h 11073"/>
              <a:gd name="connsiteX2" fmla="*/ 10000 w 13930"/>
              <a:gd name="connsiteY2" fmla="*/ 1006 h 11073"/>
              <a:gd name="connsiteX3" fmla="*/ 13582 w 13930"/>
              <a:gd name="connsiteY3" fmla="*/ 169 h 11073"/>
              <a:gd name="connsiteX4" fmla="*/ 13731 w 13930"/>
              <a:gd name="connsiteY4" fmla="*/ 1633 h 11073"/>
              <a:gd name="connsiteX5" fmla="*/ 10439 w 13930"/>
              <a:gd name="connsiteY5" fmla="*/ 1667 h 11073"/>
              <a:gd name="connsiteX6" fmla="*/ 9198 w 13930"/>
              <a:gd name="connsiteY6" fmla="*/ 10923 h 11073"/>
              <a:gd name="connsiteX7" fmla="*/ 0 w 13930"/>
              <a:gd name="connsiteY7" fmla="*/ 11006 h 11073"/>
              <a:gd name="connsiteX0" fmla="*/ 0 w 14659"/>
              <a:gd name="connsiteY0" fmla="*/ 10845 h 10912"/>
              <a:gd name="connsiteX1" fmla="*/ 2000 w 14659"/>
              <a:gd name="connsiteY1" fmla="*/ 845 h 10912"/>
              <a:gd name="connsiteX2" fmla="*/ 10000 w 14659"/>
              <a:gd name="connsiteY2" fmla="*/ 845 h 10912"/>
              <a:gd name="connsiteX3" fmla="*/ 13582 w 14659"/>
              <a:gd name="connsiteY3" fmla="*/ 8 h 10912"/>
              <a:gd name="connsiteX4" fmla="*/ 14473 w 14659"/>
              <a:gd name="connsiteY4" fmla="*/ 491 h 10912"/>
              <a:gd name="connsiteX5" fmla="*/ 10439 w 14659"/>
              <a:gd name="connsiteY5" fmla="*/ 1506 h 10912"/>
              <a:gd name="connsiteX6" fmla="*/ 9198 w 14659"/>
              <a:gd name="connsiteY6" fmla="*/ 10762 h 10912"/>
              <a:gd name="connsiteX7" fmla="*/ 0 w 14659"/>
              <a:gd name="connsiteY7" fmla="*/ 10845 h 10912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554"/>
              <a:gd name="connsiteY0" fmla="*/ 10859 h 10926"/>
              <a:gd name="connsiteX1" fmla="*/ 2000 w 14554"/>
              <a:gd name="connsiteY1" fmla="*/ 859 h 10926"/>
              <a:gd name="connsiteX2" fmla="*/ 10000 w 14554"/>
              <a:gd name="connsiteY2" fmla="*/ 859 h 10926"/>
              <a:gd name="connsiteX3" fmla="*/ 13582 w 14554"/>
              <a:gd name="connsiteY3" fmla="*/ 22 h 10926"/>
              <a:gd name="connsiteX4" fmla="*/ 14473 w 14554"/>
              <a:gd name="connsiteY4" fmla="*/ 505 h 10926"/>
              <a:gd name="connsiteX5" fmla="*/ 10439 w 14554"/>
              <a:gd name="connsiteY5" fmla="*/ 1520 h 10926"/>
              <a:gd name="connsiteX6" fmla="*/ 9198 w 14554"/>
              <a:gd name="connsiteY6" fmla="*/ 10776 h 10926"/>
              <a:gd name="connsiteX7" fmla="*/ 0 w 14554"/>
              <a:gd name="connsiteY7" fmla="*/ 10859 h 10926"/>
              <a:gd name="connsiteX0" fmla="*/ 0 w 14482"/>
              <a:gd name="connsiteY0" fmla="*/ 11191 h 11258"/>
              <a:gd name="connsiteX1" fmla="*/ 2000 w 14482"/>
              <a:gd name="connsiteY1" fmla="*/ 1191 h 11258"/>
              <a:gd name="connsiteX2" fmla="*/ 10000 w 14482"/>
              <a:gd name="connsiteY2" fmla="*/ 1191 h 11258"/>
              <a:gd name="connsiteX3" fmla="*/ 13582 w 14482"/>
              <a:gd name="connsiteY3" fmla="*/ 354 h 11258"/>
              <a:gd name="connsiteX4" fmla="*/ 14473 w 14482"/>
              <a:gd name="connsiteY4" fmla="*/ 837 h 11258"/>
              <a:gd name="connsiteX5" fmla="*/ 10439 w 14482"/>
              <a:gd name="connsiteY5" fmla="*/ 1852 h 11258"/>
              <a:gd name="connsiteX6" fmla="*/ 9198 w 14482"/>
              <a:gd name="connsiteY6" fmla="*/ 11108 h 11258"/>
              <a:gd name="connsiteX7" fmla="*/ 0 w 14482"/>
              <a:gd name="connsiteY7" fmla="*/ 11191 h 11258"/>
              <a:gd name="connsiteX0" fmla="*/ 0 w 14481"/>
              <a:gd name="connsiteY0" fmla="*/ 11191 h 11258"/>
              <a:gd name="connsiteX1" fmla="*/ 2000 w 14481"/>
              <a:gd name="connsiteY1" fmla="*/ 1191 h 11258"/>
              <a:gd name="connsiteX2" fmla="*/ 10000 w 14481"/>
              <a:gd name="connsiteY2" fmla="*/ 1191 h 11258"/>
              <a:gd name="connsiteX3" fmla="*/ 13582 w 14481"/>
              <a:gd name="connsiteY3" fmla="*/ 354 h 11258"/>
              <a:gd name="connsiteX4" fmla="*/ 14473 w 14481"/>
              <a:gd name="connsiteY4" fmla="*/ 837 h 11258"/>
              <a:gd name="connsiteX5" fmla="*/ 10439 w 14481"/>
              <a:gd name="connsiteY5" fmla="*/ 1852 h 11258"/>
              <a:gd name="connsiteX6" fmla="*/ 9198 w 14481"/>
              <a:gd name="connsiteY6" fmla="*/ 11108 h 11258"/>
              <a:gd name="connsiteX7" fmla="*/ 0 w 14481"/>
              <a:gd name="connsiteY7" fmla="*/ 11191 h 11258"/>
              <a:gd name="connsiteX0" fmla="*/ 0 w 14532"/>
              <a:gd name="connsiteY0" fmla="*/ 10905 h 10972"/>
              <a:gd name="connsiteX1" fmla="*/ 2000 w 14532"/>
              <a:gd name="connsiteY1" fmla="*/ 905 h 10972"/>
              <a:gd name="connsiteX2" fmla="*/ 10000 w 14532"/>
              <a:gd name="connsiteY2" fmla="*/ 905 h 10972"/>
              <a:gd name="connsiteX3" fmla="*/ 13582 w 14532"/>
              <a:gd name="connsiteY3" fmla="*/ 68 h 10972"/>
              <a:gd name="connsiteX4" fmla="*/ 14526 w 14532"/>
              <a:gd name="connsiteY4" fmla="*/ 1068 h 10972"/>
              <a:gd name="connsiteX5" fmla="*/ 10439 w 14532"/>
              <a:gd name="connsiteY5" fmla="*/ 1566 h 10972"/>
              <a:gd name="connsiteX6" fmla="*/ 9198 w 14532"/>
              <a:gd name="connsiteY6" fmla="*/ 10822 h 10972"/>
              <a:gd name="connsiteX7" fmla="*/ 0 w 14532"/>
              <a:gd name="connsiteY7" fmla="*/ 10905 h 10972"/>
              <a:gd name="connsiteX0" fmla="*/ 0 w 15121"/>
              <a:gd name="connsiteY0" fmla="*/ 10838 h 10905"/>
              <a:gd name="connsiteX1" fmla="*/ 2000 w 15121"/>
              <a:gd name="connsiteY1" fmla="*/ 838 h 10905"/>
              <a:gd name="connsiteX2" fmla="*/ 10000 w 15121"/>
              <a:gd name="connsiteY2" fmla="*/ 838 h 10905"/>
              <a:gd name="connsiteX3" fmla="*/ 13582 w 15121"/>
              <a:gd name="connsiteY3" fmla="*/ 1 h 10905"/>
              <a:gd name="connsiteX4" fmla="*/ 14526 w 15121"/>
              <a:gd name="connsiteY4" fmla="*/ 1001 h 10905"/>
              <a:gd name="connsiteX5" fmla="*/ 10439 w 15121"/>
              <a:gd name="connsiteY5" fmla="*/ 1499 h 10905"/>
              <a:gd name="connsiteX6" fmla="*/ 9198 w 15121"/>
              <a:gd name="connsiteY6" fmla="*/ 10755 h 10905"/>
              <a:gd name="connsiteX7" fmla="*/ 0 w 15121"/>
              <a:gd name="connsiteY7" fmla="*/ 10838 h 10905"/>
              <a:gd name="connsiteX0" fmla="*/ 0 w 15115"/>
              <a:gd name="connsiteY0" fmla="*/ 10849 h 10916"/>
              <a:gd name="connsiteX1" fmla="*/ 2000 w 15115"/>
              <a:gd name="connsiteY1" fmla="*/ 849 h 10916"/>
              <a:gd name="connsiteX2" fmla="*/ 10000 w 15115"/>
              <a:gd name="connsiteY2" fmla="*/ 849 h 10916"/>
              <a:gd name="connsiteX3" fmla="*/ 13582 w 15115"/>
              <a:gd name="connsiteY3" fmla="*/ 12 h 10916"/>
              <a:gd name="connsiteX4" fmla="*/ 14519 w 15115"/>
              <a:gd name="connsiteY4" fmla="*/ 1580 h 10916"/>
              <a:gd name="connsiteX5" fmla="*/ 10439 w 15115"/>
              <a:gd name="connsiteY5" fmla="*/ 1510 h 10916"/>
              <a:gd name="connsiteX6" fmla="*/ 9198 w 15115"/>
              <a:gd name="connsiteY6" fmla="*/ 10766 h 10916"/>
              <a:gd name="connsiteX7" fmla="*/ 0 w 15115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661"/>
              <a:gd name="connsiteY0" fmla="*/ 10849 h 10916"/>
              <a:gd name="connsiteX1" fmla="*/ 2000 w 14661"/>
              <a:gd name="connsiteY1" fmla="*/ 849 h 10916"/>
              <a:gd name="connsiteX2" fmla="*/ 10000 w 14661"/>
              <a:gd name="connsiteY2" fmla="*/ 849 h 10916"/>
              <a:gd name="connsiteX3" fmla="*/ 13582 w 14661"/>
              <a:gd name="connsiteY3" fmla="*/ 12 h 10916"/>
              <a:gd name="connsiteX4" fmla="*/ 14519 w 14661"/>
              <a:gd name="connsiteY4" fmla="*/ 1580 h 10916"/>
              <a:gd name="connsiteX5" fmla="*/ 10439 w 14661"/>
              <a:gd name="connsiteY5" fmla="*/ 1510 h 10916"/>
              <a:gd name="connsiteX6" fmla="*/ 9198 w 14661"/>
              <a:gd name="connsiteY6" fmla="*/ 10766 h 10916"/>
              <a:gd name="connsiteX7" fmla="*/ 0 w 14661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49 h 10916"/>
              <a:gd name="connsiteX1" fmla="*/ 2000 w 14519"/>
              <a:gd name="connsiteY1" fmla="*/ 849 h 10916"/>
              <a:gd name="connsiteX2" fmla="*/ 10000 w 14519"/>
              <a:gd name="connsiteY2" fmla="*/ 849 h 10916"/>
              <a:gd name="connsiteX3" fmla="*/ 13582 w 14519"/>
              <a:gd name="connsiteY3" fmla="*/ 12 h 10916"/>
              <a:gd name="connsiteX4" fmla="*/ 14519 w 14519"/>
              <a:gd name="connsiteY4" fmla="*/ 1580 h 10916"/>
              <a:gd name="connsiteX5" fmla="*/ 10439 w 14519"/>
              <a:gd name="connsiteY5" fmla="*/ 1510 h 10916"/>
              <a:gd name="connsiteX6" fmla="*/ 9198 w 14519"/>
              <a:gd name="connsiteY6" fmla="*/ 10766 h 10916"/>
              <a:gd name="connsiteX7" fmla="*/ 0 w 14519"/>
              <a:gd name="connsiteY7" fmla="*/ 10849 h 10916"/>
              <a:gd name="connsiteX0" fmla="*/ 0 w 14519"/>
              <a:gd name="connsiteY0" fmla="*/ 10837 h 10904"/>
              <a:gd name="connsiteX1" fmla="*/ 2000 w 14519"/>
              <a:gd name="connsiteY1" fmla="*/ 837 h 10904"/>
              <a:gd name="connsiteX2" fmla="*/ 10000 w 14519"/>
              <a:gd name="connsiteY2" fmla="*/ 837 h 10904"/>
              <a:gd name="connsiteX3" fmla="*/ 13582 w 14519"/>
              <a:gd name="connsiteY3" fmla="*/ 0 h 10904"/>
              <a:gd name="connsiteX4" fmla="*/ 14519 w 14519"/>
              <a:gd name="connsiteY4" fmla="*/ 1568 h 10904"/>
              <a:gd name="connsiteX5" fmla="*/ 10439 w 14519"/>
              <a:gd name="connsiteY5" fmla="*/ 1498 h 10904"/>
              <a:gd name="connsiteX6" fmla="*/ 9198 w 14519"/>
              <a:gd name="connsiteY6" fmla="*/ 10754 h 10904"/>
              <a:gd name="connsiteX7" fmla="*/ 0 w 14519"/>
              <a:gd name="connsiteY7" fmla="*/ 10837 h 10904"/>
              <a:gd name="connsiteX0" fmla="*/ 0 w 14728"/>
              <a:gd name="connsiteY0" fmla="*/ 10320 h 10387"/>
              <a:gd name="connsiteX1" fmla="*/ 2000 w 14728"/>
              <a:gd name="connsiteY1" fmla="*/ 320 h 10387"/>
              <a:gd name="connsiteX2" fmla="*/ 10000 w 14728"/>
              <a:gd name="connsiteY2" fmla="*/ 320 h 10387"/>
              <a:gd name="connsiteX3" fmla="*/ 14344 w 14728"/>
              <a:gd name="connsiteY3" fmla="*/ 0 h 10387"/>
              <a:gd name="connsiteX4" fmla="*/ 14519 w 14728"/>
              <a:gd name="connsiteY4" fmla="*/ 1051 h 10387"/>
              <a:gd name="connsiteX5" fmla="*/ 10439 w 14728"/>
              <a:gd name="connsiteY5" fmla="*/ 981 h 10387"/>
              <a:gd name="connsiteX6" fmla="*/ 9198 w 14728"/>
              <a:gd name="connsiteY6" fmla="*/ 10237 h 10387"/>
              <a:gd name="connsiteX7" fmla="*/ 0 w 14728"/>
              <a:gd name="connsiteY7" fmla="*/ 10320 h 10387"/>
              <a:gd name="connsiteX0" fmla="*/ 0 w 14519"/>
              <a:gd name="connsiteY0" fmla="*/ 10320 h 10387"/>
              <a:gd name="connsiteX1" fmla="*/ 2000 w 14519"/>
              <a:gd name="connsiteY1" fmla="*/ 320 h 10387"/>
              <a:gd name="connsiteX2" fmla="*/ 10000 w 14519"/>
              <a:gd name="connsiteY2" fmla="*/ 320 h 10387"/>
              <a:gd name="connsiteX3" fmla="*/ 14344 w 14519"/>
              <a:gd name="connsiteY3" fmla="*/ 0 h 10387"/>
              <a:gd name="connsiteX4" fmla="*/ 14519 w 14519"/>
              <a:gd name="connsiteY4" fmla="*/ 1051 h 10387"/>
              <a:gd name="connsiteX5" fmla="*/ 10439 w 14519"/>
              <a:gd name="connsiteY5" fmla="*/ 981 h 10387"/>
              <a:gd name="connsiteX6" fmla="*/ 9198 w 14519"/>
              <a:gd name="connsiteY6" fmla="*/ 10237 h 10387"/>
              <a:gd name="connsiteX7" fmla="*/ 0 w 14519"/>
              <a:gd name="connsiteY7" fmla="*/ 10320 h 10387"/>
              <a:gd name="connsiteX0" fmla="*/ 0 w 14519"/>
              <a:gd name="connsiteY0" fmla="*/ 10020 h 10087"/>
              <a:gd name="connsiteX1" fmla="*/ 2000 w 14519"/>
              <a:gd name="connsiteY1" fmla="*/ 20 h 10087"/>
              <a:gd name="connsiteX2" fmla="*/ 10000 w 14519"/>
              <a:gd name="connsiteY2" fmla="*/ 20 h 10087"/>
              <a:gd name="connsiteX3" fmla="*/ 13926 w 14519"/>
              <a:gd name="connsiteY3" fmla="*/ 139 h 10087"/>
              <a:gd name="connsiteX4" fmla="*/ 14519 w 14519"/>
              <a:gd name="connsiteY4" fmla="*/ 751 h 10087"/>
              <a:gd name="connsiteX5" fmla="*/ 10439 w 14519"/>
              <a:gd name="connsiteY5" fmla="*/ 681 h 10087"/>
              <a:gd name="connsiteX6" fmla="*/ 9198 w 14519"/>
              <a:gd name="connsiteY6" fmla="*/ 9937 h 10087"/>
              <a:gd name="connsiteX7" fmla="*/ 0 w 14519"/>
              <a:gd name="connsiteY7" fmla="*/ 10020 h 10087"/>
              <a:gd name="connsiteX0" fmla="*/ 0 w 14519"/>
              <a:gd name="connsiteY0" fmla="*/ 10033 h 10100"/>
              <a:gd name="connsiteX1" fmla="*/ 2000 w 14519"/>
              <a:gd name="connsiteY1" fmla="*/ 33 h 10100"/>
              <a:gd name="connsiteX2" fmla="*/ 10000 w 14519"/>
              <a:gd name="connsiteY2" fmla="*/ 33 h 10100"/>
              <a:gd name="connsiteX3" fmla="*/ 13926 w 14519"/>
              <a:gd name="connsiteY3" fmla="*/ 152 h 10100"/>
              <a:gd name="connsiteX4" fmla="*/ 14519 w 14519"/>
              <a:gd name="connsiteY4" fmla="*/ 764 h 10100"/>
              <a:gd name="connsiteX5" fmla="*/ 10439 w 14519"/>
              <a:gd name="connsiteY5" fmla="*/ 694 h 10100"/>
              <a:gd name="connsiteX6" fmla="*/ 9198 w 14519"/>
              <a:gd name="connsiteY6" fmla="*/ 9950 h 10100"/>
              <a:gd name="connsiteX7" fmla="*/ 0 w 14519"/>
              <a:gd name="connsiteY7" fmla="*/ 10033 h 10100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4519"/>
              <a:gd name="connsiteY0" fmla="*/ 10062 h 10129"/>
              <a:gd name="connsiteX1" fmla="*/ 2000 w 14519"/>
              <a:gd name="connsiteY1" fmla="*/ 62 h 10129"/>
              <a:gd name="connsiteX2" fmla="*/ 10000 w 14519"/>
              <a:gd name="connsiteY2" fmla="*/ 62 h 10129"/>
              <a:gd name="connsiteX3" fmla="*/ 13742 w 14519"/>
              <a:gd name="connsiteY3" fmla="*/ 0 h 10129"/>
              <a:gd name="connsiteX4" fmla="*/ 14519 w 14519"/>
              <a:gd name="connsiteY4" fmla="*/ 793 h 10129"/>
              <a:gd name="connsiteX5" fmla="*/ 10439 w 14519"/>
              <a:gd name="connsiteY5" fmla="*/ 723 h 10129"/>
              <a:gd name="connsiteX6" fmla="*/ 9198 w 14519"/>
              <a:gd name="connsiteY6" fmla="*/ 9979 h 10129"/>
              <a:gd name="connsiteX7" fmla="*/ 0 w 14519"/>
              <a:gd name="connsiteY7" fmla="*/ 10062 h 10129"/>
              <a:gd name="connsiteX0" fmla="*/ 0 w 13824"/>
              <a:gd name="connsiteY0" fmla="*/ 10062 h 10129"/>
              <a:gd name="connsiteX1" fmla="*/ 2000 w 13824"/>
              <a:gd name="connsiteY1" fmla="*/ 62 h 10129"/>
              <a:gd name="connsiteX2" fmla="*/ 10000 w 13824"/>
              <a:gd name="connsiteY2" fmla="*/ 62 h 10129"/>
              <a:gd name="connsiteX3" fmla="*/ 13742 w 13824"/>
              <a:gd name="connsiteY3" fmla="*/ 0 h 10129"/>
              <a:gd name="connsiteX4" fmla="*/ 13824 w 13824"/>
              <a:gd name="connsiteY4" fmla="*/ 1516 h 10129"/>
              <a:gd name="connsiteX5" fmla="*/ 10439 w 13824"/>
              <a:gd name="connsiteY5" fmla="*/ 723 h 10129"/>
              <a:gd name="connsiteX6" fmla="*/ 9198 w 13824"/>
              <a:gd name="connsiteY6" fmla="*/ 9979 h 10129"/>
              <a:gd name="connsiteX7" fmla="*/ 0 w 13824"/>
              <a:gd name="connsiteY7" fmla="*/ 10062 h 10129"/>
              <a:gd name="connsiteX0" fmla="*/ 0 w 13742"/>
              <a:gd name="connsiteY0" fmla="*/ 10062 h 10129"/>
              <a:gd name="connsiteX1" fmla="*/ 2000 w 13742"/>
              <a:gd name="connsiteY1" fmla="*/ 62 h 10129"/>
              <a:gd name="connsiteX2" fmla="*/ 10000 w 13742"/>
              <a:gd name="connsiteY2" fmla="*/ 62 h 10129"/>
              <a:gd name="connsiteX3" fmla="*/ 13742 w 13742"/>
              <a:gd name="connsiteY3" fmla="*/ 0 h 10129"/>
              <a:gd name="connsiteX4" fmla="*/ 13720 w 13742"/>
              <a:gd name="connsiteY4" fmla="*/ 870 h 10129"/>
              <a:gd name="connsiteX5" fmla="*/ 10439 w 13742"/>
              <a:gd name="connsiteY5" fmla="*/ 723 h 10129"/>
              <a:gd name="connsiteX6" fmla="*/ 9198 w 13742"/>
              <a:gd name="connsiteY6" fmla="*/ 9979 h 10129"/>
              <a:gd name="connsiteX7" fmla="*/ 0 w 13742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896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129"/>
              <a:gd name="connsiteX1" fmla="*/ 2000 w 13757"/>
              <a:gd name="connsiteY1" fmla="*/ 62 h 10129"/>
              <a:gd name="connsiteX2" fmla="*/ 10000 w 13757"/>
              <a:gd name="connsiteY2" fmla="*/ 62 h 10129"/>
              <a:gd name="connsiteX3" fmla="*/ 13742 w 13757"/>
              <a:gd name="connsiteY3" fmla="*/ 0 h 10129"/>
              <a:gd name="connsiteX4" fmla="*/ 13757 w 13757"/>
              <a:gd name="connsiteY4" fmla="*/ 689 h 10129"/>
              <a:gd name="connsiteX5" fmla="*/ 10439 w 13757"/>
              <a:gd name="connsiteY5" fmla="*/ 723 h 10129"/>
              <a:gd name="connsiteX6" fmla="*/ 9198 w 13757"/>
              <a:gd name="connsiteY6" fmla="*/ 9979 h 10129"/>
              <a:gd name="connsiteX7" fmla="*/ 0 w 13757"/>
              <a:gd name="connsiteY7" fmla="*/ 10062 h 1012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699"/>
              <a:gd name="connsiteX1" fmla="*/ 2000 w 13757"/>
              <a:gd name="connsiteY1" fmla="*/ 62 h 10699"/>
              <a:gd name="connsiteX2" fmla="*/ 10000 w 13757"/>
              <a:gd name="connsiteY2" fmla="*/ 62 h 10699"/>
              <a:gd name="connsiteX3" fmla="*/ 13742 w 13757"/>
              <a:gd name="connsiteY3" fmla="*/ 0 h 10699"/>
              <a:gd name="connsiteX4" fmla="*/ 13757 w 13757"/>
              <a:gd name="connsiteY4" fmla="*/ 689 h 10699"/>
              <a:gd name="connsiteX5" fmla="*/ 10476 w 13757"/>
              <a:gd name="connsiteY5" fmla="*/ 723 h 10699"/>
              <a:gd name="connsiteX6" fmla="*/ 9198 w 13757"/>
              <a:gd name="connsiteY6" fmla="*/ 9979 h 10699"/>
              <a:gd name="connsiteX7" fmla="*/ 0 w 13757"/>
              <a:gd name="connsiteY7" fmla="*/ 10062 h 10699"/>
              <a:gd name="connsiteX0" fmla="*/ 0 w 13757"/>
              <a:gd name="connsiteY0" fmla="*/ 10062 h 10703"/>
              <a:gd name="connsiteX1" fmla="*/ 2000 w 13757"/>
              <a:gd name="connsiteY1" fmla="*/ 62 h 10703"/>
              <a:gd name="connsiteX2" fmla="*/ 10000 w 13757"/>
              <a:gd name="connsiteY2" fmla="*/ 62 h 10703"/>
              <a:gd name="connsiteX3" fmla="*/ 13742 w 13757"/>
              <a:gd name="connsiteY3" fmla="*/ 0 h 10703"/>
              <a:gd name="connsiteX4" fmla="*/ 13757 w 13757"/>
              <a:gd name="connsiteY4" fmla="*/ 689 h 10703"/>
              <a:gd name="connsiteX5" fmla="*/ 10516 w 13757"/>
              <a:gd name="connsiteY5" fmla="*/ 671 h 10703"/>
              <a:gd name="connsiteX6" fmla="*/ 9198 w 13757"/>
              <a:gd name="connsiteY6" fmla="*/ 9979 h 10703"/>
              <a:gd name="connsiteX7" fmla="*/ 0 w 13757"/>
              <a:gd name="connsiteY7" fmla="*/ 10062 h 10703"/>
              <a:gd name="connsiteX0" fmla="*/ 0 w 13757"/>
              <a:gd name="connsiteY0" fmla="*/ 10062 h 10947"/>
              <a:gd name="connsiteX1" fmla="*/ 2000 w 13757"/>
              <a:gd name="connsiteY1" fmla="*/ 62 h 10947"/>
              <a:gd name="connsiteX2" fmla="*/ 10000 w 13757"/>
              <a:gd name="connsiteY2" fmla="*/ 62 h 10947"/>
              <a:gd name="connsiteX3" fmla="*/ 13742 w 13757"/>
              <a:gd name="connsiteY3" fmla="*/ 0 h 10947"/>
              <a:gd name="connsiteX4" fmla="*/ 13757 w 13757"/>
              <a:gd name="connsiteY4" fmla="*/ 689 h 10947"/>
              <a:gd name="connsiteX5" fmla="*/ 10516 w 13757"/>
              <a:gd name="connsiteY5" fmla="*/ 671 h 10947"/>
              <a:gd name="connsiteX6" fmla="*/ 9198 w 13757"/>
              <a:gd name="connsiteY6" fmla="*/ 9979 h 10947"/>
              <a:gd name="connsiteX7" fmla="*/ 0 w 13757"/>
              <a:gd name="connsiteY7" fmla="*/ 10062 h 10947"/>
              <a:gd name="connsiteX0" fmla="*/ 0 w 13757"/>
              <a:gd name="connsiteY0" fmla="*/ 10062 h 10764"/>
              <a:gd name="connsiteX1" fmla="*/ 2000 w 13757"/>
              <a:gd name="connsiteY1" fmla="*/ 62 h 10764"/>
              <a:gd name="connsiteX2" fmla="*/ 10000 w 13757"/>
              <a:gd name="connsiteY2" fmla="*/ 62 h 10764"/>
              <a:gd name="connsiteX3" fmla="*/ 13742 w 13757"/>
              <a:gd name="connsiteY3" fmla="*/ 0 h 10764"/>
              <a:gd name="connsiteX4" fmla="*/ 13757 w 13757"/>
              <a:gd name="connsiteY4" fmla="*/ 689 h 10764"/>
              <a:gd name="connsiteX5" fmla="*/ 10516 w 13757"/>
              <a:gd name="connsiteY5" fmla="*/ 671 h 10764"/>
              <a:gd name="connsiteX6" fmla="*/ 9198 w 13757"/>
              <a:gd name="connsiteY6" fmla="*/ 9979 h 10764"/>
              <a:gd name="connsiteX7" fmla="*/ 0 w 13757"/>
              <a:gd name="connsiteY7" fmla="*/ 10062 h 10764"/>
              <a:gd name="connsiteX0" fmla="*/ 0 w 13757"/>
              <a:gd name="connsiteY0" fmla="*/ 10062 h 10520"/>
              <a:gd name="connsiteX1" fmla="*/ 2000 w 13757"/>
              <a:gd name="connsiteY1" fmla="*/ 62 h 10520"/>
              <a:gd name="connsiteX2" fmla="*/ 10000 w 13757"/>
              <a:gd name="connsiteY2" fmla="*/ 62 h 10520"/>
              <a:gd name="connsiteX3" fmla="*/ 13742 w 13757"/>
              <a:gd name="connsiteY3" fmla="*/ 0 h 10520"/>
              <a:gd name="connsiteX4" fmla="*/ 13757 w 13757"/>
              <a:gd name="connsiteY4" fmla="*/ 689 h 10520"/>
              <a:gd name="connsiteX5" fmla="*/ 10516 w 13757"/>
              <a:gd name="connsiteY5" fmla="*/ 671 h 10520"/>
              <a:gd name="connsiteX6" fmla="*/ 9198 w 13757"/>
              <a:gd name="connsiteY6" fmla="*/ 9979 h 10520"/>
              <a:gd name="connsiteX7" fmla="*/ 0 w 13757"/>
              <a:gd name="connsiteY7" fmla="*/ 10062 h 10520"/>
              <a:gd name="connsiteX0" fmla="*/ 0 w 13757"/>
              <a:gd name="connsiteY0" fmla="*/ 10062 h 10459"/>
              <a:gd name="connsiteX1" fmla="*/ 2000 w 13757"/>
              <a:gd name="connsiteY1" fmla="*/ 62 h 10459"/>
              <a:gd name="connsiteX2" fmla="*/ 10000 w 13757"/>
              <a:gd name="connsiteY2" fmla="*/ 62 h 10459"/>
              <a:gd name="connsiteX3" fmla="*/ 13742 w 13757"/>
              <a:gd name="connsiteY3" fmla="*/ 0 h 10459"/>
              <a:gd name="connsiteX4" fmla="*/ 13757 w 13757"/>
              <a:gd name="connsiteY4" fmla="*/ 689 h 10459"/>
              <a:gd name="connsiteX5" fmla="*/ 10516 w 13757"/>
              <a:gd name="connsiteY5" fmla="*/ 671 h 10459"/>
              <a:gd name="connsiteX6" fmla="*/ 9198 w 13757"/>
              <a:gd name="connsiteY6" fmla="*/ 9979 h 10459"/>
              <a:gd name="connsiteX7" fmla="*/ 0 w 13757"/>
              <a:gd name="connsiteY7" fmla="*/ 10062 h 10459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276"/>
              <a:gd name="connsiteX1" fmla="*/ 2000 w 13757"/>
              <a:gd name="connsiteY1" fmla="*/ 62 h 10276"/>
              <a:gd name="connsiteX2" fmla="*/ 10000 w 13757"/>
              <a:gd name="connsiteY2" fmla="*/ 62 h 10276"/>
              <a:gd name="connsiteX3" fmla="*/ 13742 w 13757"/>
              <a:gd name="connsiteY3" fmla="*/ 0 h 10276"/>
              <a:gd name="connsiteX4" fmla="*/ 13757 w 13757"/>
              <a:gd name="connsiteY4" fmla="*/ 689 h 10276"/>
              <a:gd name="connsiteX5" fmla="*/ 10516 w 13757"/>
              <a:gd name="connsiteY5" fmla="*/ 671 h 10276"/>
              <a:gd name="connsiteX6" fmla="*/ 9198 w 13757"/>
              <a:gd name="connsiteY6" fmla="*/ 9979 h 10276"/>
              <a:gd name="connsiteX7" fmla="*/ 0 w 13757"/>
              <a:gd name="connsiteY7" fmla="*/ 10062 h 10276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65"/>
              <a:gd name="connsiteX1" fmla="*/ 2000 w 13757"/>
              <a:gd name="connsiteY1" fmla="*/ 62 h 10065"/>
              <a:gd name="connsiteX2" fmla="*/ 10000 w 13757"/>
              <a:gd name="connsiteY2" fmla="*/ 62 h 10065"/>
              <a:gd name="connsiteX3" fmla="*/ 13742 w 13757"/>
              <a:gd name="connsiteY3" fmla="*/ 0 h 10065"/>
              <a:gd name="connsiteX4" fmla="*/ 13757 w 13757"/>
              <a:gd name="connsiteY4" fmla="*/ 689 h 10065"/>
              <a:gd name="connsiteX5" fmla="*/ 10516 w 13757"/>
              <a:gd name="connsiteY5" fmla="*/ 671 h 10065"/>
              <a:gd name="connsiteX6" fmla="*/ 9198 w 13757"/>
              <a:gd name="connsiteY6" fmla="*/ 9979 h 10065"/>
              <a:gd name="connsiteX7" fmla="*/ 0 w 13757"/>
              <a:gd name="connsiteY7" fmla="*/ 10062 h 10065"/>
              <a:gd name="connsiteX0" fmla="*/ 0 w 13757"/>
              <a:gd name="connsiteY0" fmla="*/ 10062 h 10070"/>
              <a:gd name="connsiteX1" fmla="*/ 2000 w 13757"/>
              <a:gd name="connsiteY1" fmla="*/ 62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3757"/>
              <a:gd name="connsiteY0" fmla="*/ 10062 h 10070"/>
              <a:gd name="connsiteX1" fmla="*/ 122 w 13757"/>
              <a:gd name="connsiteY1" fmla="*/ 10 h 10070"/>
              <a:gd name="connsiteX2" fmla="*/ 10000 w 13757"/>
              <a:gd name="connsiteY2" fmla="*/ 62 h 10070"/>
              <a:gd name="connsiteX3" fmla="*/ 13742 w 13757"/>
              <a:gd name="connsiteY3" fmla="*/ 0 h 10070"/>
              <a:gd name="connsiteX4" fmla="*/ 13757 w 13757"/>
              <a:gd name="connsiteY4" fmla="*/ 689 h 10070"/>
              <a:gd name="connsiteX5" fmla="*/ 10516 w 13757"/>
              <a:gd name="connsiteY5" fmla="*/ 671 h 10070"/>
              <a:gd name="connsiteX6" fmla="*/ 9198 w 13757"/>
              <a:gd name="connsiteY6" fmla="*/ 9979 h 10070"/>
              <a:gd name="connsiteX7" fmla="*/ 0 w 13757"/>
              <a:gd name="connsiteY7" fmla="*/ 10062 h 10070"/>
              <a:gd name="connsiteX0" fmla="*/ 0 w 15248"/>
              <a:gd name="connsiteY0" fmla="*/ 10010 h 10685"/>
              <a:gd name="connsiteX1" fmla="*/ 1613 w 15248"/>
              <a:gd name="connsiteY1" fmla="*/ 10 h 10685"/>
              <a:gd name="connsiteX2" fmla="*/ 11491 w 15248"/>
              <a:gd name="connsiteY2" fmla="*/ 62 h 10685"/>
              <a:gd name="connsiteX3" fmla="*/ 15233 w 15248"/>
              <a:gd name="connsiteY3" fmla="*/ 0 h 10685"/>
              <a:gd name="connsiteX4" fmla="*/ 15248 w 15248"/>
              <a:gd name="connsiteY4" fmla="*/ 689 h 10685"/>
              <a:gd name="connsiteX5" fmla="*/ 12007 w 15248"/>
              <a:gd name="connsiteY5" fmla="*/ 671 h 10685"/>
              <a:gd name="connsiteX6" fmla="*/ 10689 w 15248"/>
              <a:gd name="connsiteY6" fmla="*/ 9979 h 10685"/>
              <a:gd name="connsiteX7" fmla="*/ 0 w 15248"/>
              <a:gd name="connsiteY7" fmla="*/ 10010 h 10685"/>
              <a:gd name="connsiteX0" fmla="*/ 813 w 16061"/>
              <a:gd name="connsiteY0" fmla="*/ 10010 h 10685"/>
              <a:gd name="connsiteX1" fmla="*/ 928 w 16061"/>
              <a:gd name="connsiteY1" fmla="*/ 8437 h 10685"/>
              <a:gd name="connsiteX2" fmla="*/ 2426 w 16061"/>
              <a:gd name="connsiteY2" fmla="*/ 10 h 10685"/>
              <a:gd name="connsiteX3" fmla="*/ 12304 w 16061"/>
              <a:gd name="connsiteY3" fmla="*/ 62 h 10685"/>
              <a:gd name="connsiteX4" fmla="*/ 16046 w 16061"/>
              <a:gd name="connsiteY4" fmla="*/ 0 h 10685"/>
              <a:gd name="connsiteX5" fmla="*/ 16061 w 16061"/>
              <a:gd name="connsiteY5" fmla="*/ 689 h 10685"/>
              <a:gd name="connsiteX6" fmla="*/ 12820 w 16061"/>
              <a:gd name="connsiteY6" fmla="*/ 671 h 10685"/>
              <a:gd name="connsiteX7" fmla="*/ 11502 w 16061"/>
              <a:gd name="connsiteY7" fmla="*/ 9979 h 10685"/>
              <a:gd name="connsiteX8" fmla="*/ 813 w 16061"/>
              <a:gd name="connsiteY8" fmla="*/ 10010 h 10685"/>
              <a:gd name="connsiteX0" fmla="*/ 752 w 16000"/>
              <a:gd name="connsiteY0" fmla="*/ 10010 h 10685"/>
              <a:gd name="connsiteX1" fmla="*/ 867 w 16000"/>
              <a:gd name="connsiteY1" fmla="*/ 8437 h 10685"/>
              <a:gd name="connsiteX2" fmla="*/ 2365 w 16000"/>
              <a:gd name="connsiteY2" fmla="*/ 10 h 10685"/>
              <a:gd name="connsiteX3" fmla="*/ 12243 w 16000"/>
              <a:gd name="connsiteY3" fmla="*/ 62 h 10685"/>
              <a:gd name="connsiteX4" fmla="*/ 15985 w 16000"/>
              <a:gd name="connsiteY4" fmla="*/ 0 h 10685"/>
              <a:gd name="connsiteX5" fmla="*/ 16000 w 16000"/>
              <a:gd name="connsiteY5" fmla="*/ 689 h 10685"/>
              <a:gd name="connsiteX6" fmla="*/ 12759 w 16000"/>
              <a:gd name="connsiteY6" fmla="*/ 671 h 10685"/>
              <a:gd name="connsiteX7" fmla="*/ 11441 w 16000"/>
              <a:gd name="connsiteY7" fmla="*/ 9979 h 10685"/>
              <a:gd name="connsiteX8" fmla="*/ 752 w 16000"/>
              <a:gd name="connsiteY8" fmla="*/ 10010 h 10685"/>
              <a:gd name="connsiteX0" fmla="*/ 1 w 15249"/>
              <a:gd name="connsiteY0" fmla="*/ 10010 h 10685"/>
              <a:gd name="connsiteX1" fmla="*/ 116 w 15249"/>
              <a:gd name="connsiteY1" fmla="*/ 8437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 w 15249"/>
              <a:gd name="connsiteY0" fmla="*/ 10010 h 10685"/>
              <a:gd name="connsiteX1" fmla="*/ 9 w 15249"/>
              <a:gd name="connsiteY1" fmla="*/ 9315 h 10685"/>
              <a:gd name="connsiteX2" fmla="*/ 1614 w 15249"/>
              <a:gd name="connsiteY2" fmla="*/ 10 h 10685"/>
              <a:gd name="connsiteX3" fmla="*/ 11492 w 15249"/>
              <a:gd name="connsiteY3" fmla="*/ 62 h 10685"/>
              <a:gd name="connsiteX4" fmla="*/ 15234 w 15249"/>
              <a:gd name="connsiteY4" fmla="*/ 0 h 10685"/>
              <a:gd name="connsiteX5" fmla="*/ 15249 w 15249"/>
              <a:gd name="connsiteY5" fmla="*/ 689 h 10685"/>
              <a:gd name="connsiteX6" fmla="*/ 12008 w 15249"/>
              <a:gd name="connsiteY6" fmla="*/ 671 h 10685"/>
              <a:gd name="connsiteX7" fmla="*/ 10690 w 15249"/>
              <a:gd name="connsiteY7" fmla="*/ 9979 h 10685"/>
              <a:gd name="connsiteX8" fmla="*/ 1 w 15249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685"/>
              <a:gd name="connsiteX1" fmla="*/ 0 w 15263"/>
              <a:gd name="connsiteY1" fmla="*/ 9315 h 10685"/>
              <a:gd name="connsiteX2" fmla="*/ 1628 w 15263"/>
              <a:gd name="connsiteY2" fmla="*/ 10 h 10685"/>
              <a:gd name="connsiteX3" fmla="*/ 11506 w 15263"/>
              <a:gd name="connsiteY3" fmla="*/ 62 h 10685"/>
              <a:gd name="connsiteX4" fmla="*/ 15248 w 15263"/>
              <a:gd name="connsiteY4" fmla="*/ 0 h 10685"/>
              <a:gd name="connsiteX5" fmla="*/ 15263 w 15263"/>
              <a:gd name="connsiteY5" fmla="*/ 689 h 10685"/>
              <a:gd name="connsiteX6" fmla="*/ 12022 w 15263"/>
              <a:gd name="connsiteY6" fmla="*/ 671 h 10685"/>
              <a:gd name="connsiteX7" fmla="*/ 10704 w 15263"/>
              <a:gd name="connsiteY7" fmla="*/ 9979 h 10685"/>
              <a:gd name="connsiteX8" fmla="*/ 15 w 15263"/>
              <a:gd name="connsiteY8" fmla="*/ 10010 h 10685"/>
              <a:gd name="connsiteX0" fmla="*/ 15 w 15263"/>
              <a:gd name="connsiteY0" fmla="*/ 10010 h 10010"/>
              <a:gd name="connsiteX1" fmla="*/ 0 w 15263"/>
              <a:gd name="connsiteY1" fmla="*/ 9315 h 10010"/>
              <a:gd name="connsiteX2" fmla="*/ 1628 w 15263"/>
              <a:gd name="connsiteY2" fmla="*/ 10 h 10010"/>
              <a:gd name="connsiteX3" fmla="*/ 11506 w 15263"/>
              <a:gd name="connsiteY3" fmla="*/ 62 h 10010"/>
              <a:gd name="connsiteX4" fmla="*/ 15248 w 15263"/>
              <a:gd name="connsiteY4" fmla="*/ 0 h 10010"/>
              <a:gd name="connsiteX5" fmla="*/ 15263 w 15263"/>
              <a:gd name="connsiteY5" fmla="*/ 689 h 10010"/>
              <a:gd name="connsiteX6" fmla="*/ 12022 w 15263"/>
              <a:gd name="connsiteY6" fmla="*/ 671 h 10010"/>
              <a:gd name="connsiteX7" fmla="*/ 10704 w 15263"/>
              <a:gd name="connsiteY7" fmla="*/ 9979 h 10010"/>
              <a:gd name="connsiteX8" fmla="*/ 15 w 15263"/>
              <a:gd name="connsiteY8" fmla="*/ 10010 h 10010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  <a:gd name="connsiteX0" fmla="*/ 15 w 15263"/>
              <a:gd name="connsiteY0" fmla="*/ 10010 h 10012"/>
              <a:gd name="connsiteX1" fmla="*/ 0 w 15263"/>
              <a:gd name="connsiteY1" fmla="*/ 9315 h 10012"/>
              <a:gd name="connsiteX2" fmla="*/ 1628 w 15263"/>
              <a:gd name="connsiteY2" fmla="*/ 10 h 10012"/>
              <a:gd name="connsiteX3" fmla="*/ 11506 w 15263"/>
              <a:gd name="connsiteY3" fmla="*/ 62 h 10012"/>
              <a:gd name="connsiteX4" fmla="*/ 15248 w 15263"/>
              <a:gd name="connsiteY4" fmla="*/ 0 h 10012"/>
              <a:gd name="connsiteX5" fmla="*/ 15263 w 15263"/>
              <a:gd name="connsiteY5" fmla="*/ 689 h 10012"/>
              <a:gd name="connsiteX6" fmla="*/ 12022 w 15263"/>
              <a:gd name="connsiteY6" fmla="*/ 671 h 10012"/>
              <a:gd name="connsiteX7" fmla="*/ 10704 w 15263"/>
              <a:gd name="connsiteY7" fmla="*/ 9979 h 10012"/>
              <a:gd name="connsiteX8" fmla="*/ 15 w 15263"/>
              <a:gd name="connsiteY8" fmla="*/ 10010 h 10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63" h="10012">
                <a:moveTo>
                  <a:pt x="15" y="10010"/>
                </a:moveTo>
                <a:cubicBezTo>
                  <a:pt x="13" y="9236"/>
                  <a:pt x="-5" y="9734"/>
                  <a:pt x="0" y="9315"/>
                </a:cubicBezTo>
                <a:cubicBezTo>
                  <a:pt x="1116" y="9004"/>
                  <a:pt x="875" y="-15"/>
                  <a:pt x="1628" y="10"/>
                </a:cubicBezTo>
                <a:lnTo>
                  <a:pt x="11506" y="62"/>
                </a:lnTo>
                <a:cubicBezTo>
                  <a:pt x="13436" y="-77"/>
                  <a:pt x="13454" y="82"/>
                  <a:pt x="15248" y="0"/>
                </a:cubicBezTo>
                <a:cubicBezTo>
                  <a:pt x="15259" y="484"/>
                  <a:pt x="15253" y="45"/>
                  <a:pt x="15263" y="689"/>
                </a:cubicBezTo>
                <a:cubicBezTo>
                  <a:pt x="13905" y="604"/>
                  <a:pt x="13382" y="694"/>
                  <a:pt x="12022" y="671"/>
                </a:cubicBezTo>
                <a:cubicBezTo>
                  <a:pt x="11306" y="2025"/>
                  <a:pt x="11386" y="8045"/>
                  <a:pt x="10704" y="9979"/>
                </a:cubicBezTo>
                <a:cubicBezTo>
                  <a:pt x="8703" y="9779"/>
                  <a:pt x="3120" y="10038"/>
                  <a:pt x="15" y="10010"/>
                </a:cubicBezTo>
                <a:close/>
              </a:path>
            </a:pathLst>
          </a:cu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562" eaLnBrk="1" hangingPunct="1">
              <a:defRPr/>
            </a:pPr>
            <a:r>
              <a:rPr lang="ru-RU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1050" b="1" dirty="0" smtClean="0">
                <a:solidFill>
                  <a:prstClr val="white"/>
                </a:solidFill>
                <a:ea typeface="Verdana" pitchFamily="34" charset="0"/>
                <a:cs typeface="Arial" panose="020B0604020202020204" pitchFamily="34" charset="0"/>
              </a:rPr>
              <a:t>Об обеспечении  безопасности дорожного  движения на железнодорожных переезда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14288" y="-19050"/>
            <a:ext cx="3552826" cy="16779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76" name="Прямоугольник 19"/>
          <p:cNvSpPr>
            <a:spLocks noChangeArrowheads="1"/>
          </p:cNvSpPr>
          <p:nvPr/>
        </p:nvSpPr>
        <p:spPr bwMode="auto">
          <a:xfrm>
            <a:off x="98425" y="4051300"/>
            <a:ext cx="7848600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06425" eaLnBrk="1" hangingPunct="1"/>
            <a:endParaRPr lang="ru-RU" altLang="ru-RU" sz="1400" b="1" dirty="0" smtClean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400" b="1" dirty="0" smtClean="0">
                <a:latin typeface="Verdana" pitchFamily="34" charset="0"/>
                <a:ea typeface="Verdana" pitchFamily="34" charset="0"/>
                <a:cs typeface="Arial" pitchFamily="34" charset="0"/>
              </a:rPr>
              <a:t>                                     </a:t>
            </a:r>
            <a:endParaRPr lang="ru-RU" altLang="ru-RU" sz="1400" b="1" dirty="0">
              <a:latin typeface="Verdana" pitchFamily="34" charset="0"/>
              <a:ea typeface="Verdana" pitchFamily="34" charset="0"/>
              <a:cs typeface="Arial" pitchFamily="34" charset="0"/>
            </a:endParaRPr>
          </a:p>
          <a:p>
            <a:pPr defTabSz="606425" eaLnBrk="1" hangingPunct="1"/>
            <a:r>
              <a:rPr lang="ru-RU" altLang="ru-RU" sz="1000" smtClean="0">
                <a:latin typeface="Verdana" pitchFamily="34" charset="0"/>
                <a:ea typeface="Verdana" pitchFamily="34" charset="0"/>
                <a:cs typeface="Arial" pitchFamily="34" charset="0"/>
              </a:rPr>
              <a:t>14.10.2024 </a:t>
            </a:r>
            <a:r>
              <a:rPr lang="ru-RU" altLang="ru-RU" sz="1000" dirty="0">
                <a:latin typeface="Verdana" pitchFamily="34" charset="0"/>
                <a:ea typeface="Verdana" pitchFamily="34" charset="0"/>
                <a:cs typeface="Arial" pitchFamily="34" charset="0"/>
              </a:rPr>
              <a:t>г.</a:t>
            </a:r>
          </a:p>
        </p:txBody>
      </p:sp>
      <p:grpSp>
        <p:nvGrpSpPr>
          <p:cNvPr id="2" name="Group 22"/>
          <p:cNvGrpSpPr>
            <a:grpSpLocks/>
          </p:cNvGrpSpPr>
          <p:nvPr/>
        </p:nvGrpSpPr>
        <p:grpSpPr bwMode="auto">
          <a:xfrm>
            <a:off x="1566863" y="-22225"/>
            <a:ext cx="5251450" cy="3462338"/>
            <a:chOff x="1867" y="-51"/>
            <a:chExt cx="3930" cy="3262"/>
          </a:xfrm>
        </p:grpSpPr>
        <p:pic>
          <p:nvPicPr>
            <p:cNvPr id="156687" name="Picture 33" descr="Титульный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867" y="-51"/>
              <a:ext cx="3930" cy="3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6688" name="AutoShape 34" descr="вокзал copy"/>
            <p:cNvSpPr>
              <a:spLocks noChangeArrowheads="1"/>
            </p:cNvSpPr>
            <p:nvPr/>
          </p:nvSpPr>
          <p:spPr bwMode="auto">
            <a:xfrm>
              <a:off x="2473" y="1663"/>
              <a:ext cx="1012" cy="802"/>
            </a:xfrm>
            <a:prstGeom prst="parallelogram">
              <a:avLst>
                <a:gd name="adj" fmla="val 84707"/>
              </a:avLst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24" name="Freeform 12" descr="бпла1"/>
            <p:cNvSpPr>
              <a:spLocks/>
            </p:cNvSpPr>
            <p:nvPr/>
          </p:nvSpPr>
          <p:spPr bwMode="auto">
            <a:xfrm>
              <a:off x="2476" y="12"/>
              <a:ext cx="1011" cy="778"/>
            </a:xfrm>
            <a:custGeom>
              <a:avLst/>
              <a:gdLst>
                <a:gd name="T0" fmla="*/ 0 w 996"/>
                <a:gd name="T1" fmla="*/ 937 h 773"/>
                <a:gd name="T2" fmla="*/ 698 w 996"/>
                <a:gd name="T3" fmla="*/ 935 h 773"/>
                <a:gd name="T4" fmla="*/ 1515 w 996"/>
                <a:gd name="T5" fmla="*/ 3 h 773"/>
                <a:gd name="T6" fmla="*/ 1259 w 996"/>
                <a:gd name="T7" fmla="*/ 0 h 773"/>
                <a:gd name="T8" fmla="*/ 1192 w 996"/>
                <a:gd name="T9" fmla="*/ 0 h 773"/>
                <a:gd name="T10" fmla="*/ 1111 w 996"/>
                <a:gd name="T11" fmla="*/ 10 h 773"/>
                <a:gd name="T12" fmla="*/ 1040 w 996"/>
                <a:gd name="T13" fmla="*/ 22 h 773"/>
                <a:gd name="T14" fmla="*/ 975 w 996"/>
                <a:gd name="T15" fmla="*/ 36 h 773"/>
                <a:gd name="T16" fmla="*/ 910 w 996"/>
                <a:gd name="T17" fmla="*/ 51 h 773"/>
                <a:gd name="T18" fmla="*/ 853 w 996"/>
                <a:gd name="T19" fmla="*/ 70 h 773"/>
                <a:gd name="T20" fmla="*/ 809 w 996"/>
                <a:gd name="T21" fmla="*/ 114 h 773"/>
                <a:gd name="T22" fmla="*/ 764 w 996"/>
                <a:gd name="T23" fmla="*/ 134 h 773"/>
                <a:gd name="T24" fmla="*/ 712 w 996"/>
                <a:gd name="T25" fmla="*/ 170 h 773"/>
                <a:gd name="T26" fmla="*/ 637 w 996"/>
                <a:gd name="T27" fmla="*/ 215 h 773"/>
                <a:gd name="T28" fmla="*/ 586 w 996"/>
                <a:gd name="T29" fmla="*/ 270 h 773"/>
                <a:gd name="T30" fmla="*/ 0 w 996"/>
                <a:gd name="T31" fmla="*/ 937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9525">
              <a:solidFill>
                <a:schemeClr val="accent6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itchFamily="34" charset="0"/>
                  <a:ea typeface="+mn-ea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/>
            </a:p>
          </p:txBody>
        </p:sp>
        <p:sp>
          <p:nvSpPr>
            <p:cNvPr id="156690" name="Freeform 14" descr="Безымянный444"/>
            <p:cNvSpPr>
              <a:spLocks/>
            </p:cNvSpPr>
            <p:nvPr/>
          </p:nvSpPr>
          <p:spPr bwMode="auto">
            <a:xfrm>
              <a:off x="1912" y="1662"/>
              <a:ext cx="1053" cy="805"/>
            </a:xfrm>
            <a:custGeom>
              <a:avLst/>
              <a:gdLst>
                <a:gd name="T0" fmla="*/ 0 w 996"/>
                <a:gd name="T1" fmla="*/ 2948 h 773"/>
                <a:gd name="T2" fmla="*/ 2872 w 996"/>
                <a:gd name="T3" fmla="*/ 2943 h 773"/>
                <a:gd name="T4" fmla="*/ 6245 w 996"/>
                <a:gd name="T5" fmla="*/ 3 h 773"/>
                <a:gd name="T6" fmla="*/ 5190 w 996"/>
                <a:gd name="T7" fmla="*/ 0 h 773"/>
                <a:gd name="T8" fmla="*/ 4929 w 996"/>
                <a:gd name="T9" fmla="*/ 0 h 773"/>
                <a:gd name="T10" fmla="*/ 4586 w 996"/>
                <a:gd name="T11" fmla="*/ 10 h 773"/>
                <a:gd name="T12" fmla="*/ 4292 w 996"/>
                <a:gd name="T13" fmla="*/ 79 h 773"/>
                <a:gd name="T14" fmla="*/ 4017 w 996"/>
                <a:gd name="T15" fmla="*/ 140 h 773"/>
                <a:gd name="T16" fmla="*/ 3743 w 996"/>
                <a:gd name="T17" fmla="*/ 194 h 773"/>
                <a:gd name="T18" fmla="*/ 3516 w 996"/>
                <a:gd name="T19" fmla="*/ 268 h 773"/>
                <a:gd name="T20" fmla="*/ 3343 w 996"/>
                <a:gd name="T21" fmla="*/ 319 h 773"/>
                <a:gd name="T22" fmla="*/ 3162 w 996"/>
                <a:gd name="T23" fmla="*/ 394 h 773"/>
                <a:gd name="T24" fmla="*/ 2931 w 996"/>
                <a:gd name="T25" fmla="*/ 535 h 773"/>
                <a:gd name="T26" fmla="*/ 2629 w 996"/>
                <a:gd name="T27" fmla="*/ 709 h 773"/>
                <a:gd name="T28" fmla="*/ 2425 w 996"/>
                <a:gd name="T29" fmla="*/ 845 h 773"/>
                <a:gd name="T30" fmla="*/ 0 w 996"/>
                <a:gd name="T31" fmla="*/ 2948 h 77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96"/>
                <a:gd name="T49" fmla="*/ 0 h 773"/>
                <a:gd name="T50" fmla="*/ 996 w 996"/>
                <a:gd name="T51" fmla="*/ 773 h 77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96" h="773">
                  <a:moveTo>
                    <a:pt x="0" y="773"/>
                  </a:moveTo>
                  <a:lnTo>
                    <a:pt x="458" y="771"/>
                  </a:lnTo>
                  <a:lnTo>
                    <a:pt x="996" y="3"/>
                  </a:lnTo>
                  <a:lnTo>
                    <a:pt x="828" y="0"/>
                  </a:lnTo>
                  <a:lnTo>
                    <a:pt x="785" y="0"/>
                  </a:lnTo>
                  <a:lnTo>
                    <a:pt x="732" y="10"/>
                  </a:lnTo>
                  <a:lnTo>
                    <a:pt x="684" y="22"/>
                  </a:lnTo>
                  <a:lnTo>
                    <a:pt x="641" y="36"/>
                  </a:lnTo>
                  <a:lnTo>
                    <a:pt x="598" y="51"/>
                  </a:lnTo>
                  <a:lnTo>
                    <a:pt x="562" y="70"/>
                  </a:lnTo>
                  <a:lnTo>
                    <a:pt x="533" y="84"/>
                  </a:lnTo>
                  <a:lnTo>
                    <a:pt x="504" y="104"/>
                  </a:lnTo>
                  <a:lnTo>
                    <a:pt x="468" y="140"/>
                  </a:lnTo>
                  <a:lnTo>
                    <a:pt x="420" y="185"/>
                  </a:lnTo>
                  <a:lnTo>
                    <a:pt x="386" y="221"/>
                  </a:lnTo>
                  <a:lnTo>
                    <a:pt x="0" y="773"/>
                  </a:lnTo>
                  <a:close/>
                </a:path>
              </a:pathLst>
            </a:custGeom>
            <a:blipFill dpi="0" rotWithShape="1">
              <a:blip r:embed="rId6" cstate="print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6691" name="AutoShape 34" descr="вокзал copy"/>
            <p:cNvSpPr>
              <a:spLocks noChangeArrowheads="1"/>
            </p:cNvSpPr>
            <p:nvPr/>
          </p:nvSpPr>
          <p:spPr bwMode="auto">
            <a:xfrm>
              <a:off x="1942" y="2529"/>
              <a:ext cx="961" cy="682"/>
            </a:xfrm>
            <a:prstGeom prst="parallelogram">
              <a:avLst>
                <a:gd name="adj" fmla="val 89738"/>
              </a:avLst>
            </a:prstGeom>
            <a:blipFill dpi="0" rotWithShape="1">
              <a:blip r:embed="rId7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156692" name="AutoShape 34" descr="вокзал copy"/>
            <p:cNvSpPr>
              <a:spLocks noChangeArrowheads="1"/>
            </p:cNvSpPr>
            <p:nvPr/>
          </p:nvSpPr>
          <p:spPr bwMode="auto">
            <a:xfrm>
              <a:off x="2984" y="1672"/>
              <a:ext cx="1088" cy="794"/>
            </a:xfrm>
            <a:prstGeom prst="parallelogram">
              <a:avLst>
                <a:gd name="adj" fmla="val 94219"/>
              </a:avLst>
            </a:prstGeom>
            <a:blipFill dpi="0" rotWithShape="1">
              <a:blip r:embed="rId8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lIns="91435" tIns="45718" rIns="91435" bIns="45718" anchor="ctr"/>
            <a:lstStyle/>
            <a:p>
              <a:pPr defTabSz="455613" eaLnBrk="1" hangingPunct="1"/>
              <a:endParaRPr lang="ru-RU" altLang="ru-RU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9217" name="Параллелограмм 9216"/>
          <p:cNvSpPr/>
          <p:nvPr/>
        </p:nvSpPr>
        <p:spPr>
          <a:xfrm flipV="1">
            <a:off x="2400300" y="908050"/>
            <a:ext cx="1376363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7" name="Параллелограмм 36"/>
          <p:cNvSpPr/>
          <p:nvPr/>
        </p:nvSpPr>
        <p:spPr>
          <a:xfrm flipV="1">
            <a:off x="3117850" y="900113"/>
            <a:ext cx="1374775" cy="838200"/>
          </a:xfrm>
          <a:prstGeom prst="parallelogram">
            <a:avLst>
              <a:gd name="adj" fmla="val 89393"/>
            </a:avLst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 flipH="1">
            <a:off x="3088937" y="-14849"/>
            <a:ext cx="6040638" cy="3451720"/>
          </a:xfrm>
          <a:custGeom>
            <a:avLst/>
            <a:gdLst>
              <a:gd name="connsiteX0" fmla="*/ 2946150 w 6040638"/>
              <a:gd name="connsiteY0" fmla="*/ 12042 h 3451720"/>
              <a:gd name="connsiteX1" fmla="*/ 0 w 6040638"/>
              <a:gd name="connsiteY1" fmla="*/ 12042 h 3451720"/>
              <a:gd name="connsiteX2" fmla="*/ 0 w 6040638"/>
              <a:gd name="connsiteY2" fmla="*/ 3451720 h 3451720"/>
              <a:gd name="connsiteX3" fmla="*/ 2946150 w 6040638"/>
              <a:gd name="connsiteY3" fmla="*/ 3451720 h 3451720"/>
              <a:gd name="connsiteX4" fmla="*/ 2950955 w 6040638"/>
              <a:gd name="connsiteY4" fmla="*/ 0 h 3451720"/>
              <a:gd name="connsiteX5" fmla="*/ 2950955 w 6040638"/>
              <a:gd name="connsiteY5" fmla="*/ 3439678 h 3451720"/>
              <a:gd name="connsiteX6" fmla="*/ 6040638 w 6040638"/>
              <a:gd name="connsiteY6" fmla="*/ 3439678 h 345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0638" h="3451720">
                <a:moveTo>
                  <a:pt x="2946150" y="12042"/>
                </a:moveTo>
                <a:lnTo>
                  <a:pt x="0" y="12042"/>
                </a:lnTo>
                <a:lnTo>
                  <a:pt x="0" y="3451720"/>
                </a:lnTo>
                <a:lnTo>
                  <a:pt x="2946150" y="3451720"/>
                </a:lnTo>
                <a:close/>
                <a:moveTo>
                  <a:pt x="2950955" y="0"/>
                </a:moveTo>
                <a:lnTo>
                  <a:pt x="2950955" y="3439678"/>
                </a:lnTo>
                <a:lnTo>
                  <a:pt x="6040638" y="3439678"/>
                </a:lnTo>
                <a:close/>
              </a:path>
            </a:pathLst>
          </a:custGeom>
          <a:blipFill dpi="0" rotWithShape="1">
            <a:blip r:embed="rId9" cstate="print">
              <a:alphaModFix amt="9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glow>
              <a:schemeClr val="accent1">
                <a:alpha val="80000"/>
              </a:schemeClr>
            </a:glow>
            <a:outerShdw blurRad="40000" dist="23000" dir="5400000" sx="1000" sy="1000" rotWithShape="0">
              <a:srgbClr val="000000"/>
            </a:outerShdw>
            <a:reflection endPos="0" dist="50800" dir="5400000" sy="-100000" algn="bl" rotWithShape="0"/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156681" name="AutoShape 34" descr="вокзал copy"/>
          <p:cNvSpPr>
            <a:spLocks noChangeArrowheads="1"/>
          </p:cNvSpPr>
          <p:nvPr/>
        </p:nvSpPr>
        <p:spPr bwMode="auto">
          <a:xfrm>
            <a:off x="2393950" y="2709863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0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6682" name="Freeform 12" descr="бпла1"/>
          <p:cNvSpPr>
            <a:spLocks/>
          </p:cNvSpPr>
          <p:nvPr/>
        </p:nvSpPr>
        <p:spPr bwMode="auto">
          <a:xfrm>
            <a:off x="3924300" y="6350"/>
            <a:ext cx="1458913" cy="882650"/>
          </a:xfrm>
          <a:custGeom>
            <a:avLst/>
            <a:gdLst>
              <a:gd name="T0" fmla="*/ 0 w 996"/>
              <a:gd name="T1" fmla="*/ 2147483646 h 773"/>
              <a:gd name="T2" fmla="*/ 2147483646 w 996"/>
              <a:gd name="T3" fmla="*/ 2147483646 h 773"/>
              <a:gd name="T4" fmla="*/ 2147483646 w 996"/>
              <a:gd name="T5" fmla="*/ 2147483646 h 773"/>
              <a:gd name="T6" fmla="*/ 2147483646 w 996"/>
              <a:gd name="T7" fmla="*/ 0 h 773"/>
              <a:gd name="T8" fmla="*/ 2147483646 w 996"/>
              <a:gd name="T9" fmla="*/ 0 h 773"/>
              <a:gd name="T10" fmla="*/ 2147483646 w 996"/>
              <a:gd name="T11" fmla="*/ 2147483646 h 773"/>
              <a:gd name="T12" fmla="*/ 2147483646 w 996"/>
              <a:gd name="T13" fmla="*/ 2147483646 h 773"/>
              <a:gd name="T14" fmla="*/ 2147483646 w 996"/>
              <a:gd name="T15" fmla="*/ 2147483646 h 773"/>
              <a:gd name="T16" fmla="*/ 2147483646 w 996"/>
              <a:gd name="T17" fmla="*/ 2147483646 h 773"/>
              <a:gd name="T18" fmla="*/ 2147483646 w 996"/>
              <a:gd name="T19" fmla="*/ 2147483646 h 773"/>
              <a:gd name="T20" fmla="*/ 2147483646 w 996"/>
              <a:gd name="T21" fmla="*/ 2147483646 h 773"/>
              <a:gd name="T22" fmla="*/ 2147483646 w 996"/>
              <a:gd name="T23" fmla="*/ 2147483646 h 773"/>
              <a:gd name="T24" fmla="*/ 2147483646 w 996"/>
              <a:gd name="T25" fmla="*/ 2147483646 h 773"/>
              <a:gd name="T26" fmla="*/ 2147483646 w 996"/>
              <a:gd name="T27" fmla="*/ 2147483646 h 773"/>
              <a:gd name="T28" fmla="*/ 2147483646 w 996"/>
              <a:gd name="T29" fmla="*/ 2147483646 h 773"/>
              <a:gd name="T30" fmla="*/ 0 w 996"/>
              <a:gd name="T31" fmla="*/ 2147483646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58" name="Freeform 12" descr="бпла1"/>
          <p:cNvSpPr>
            <a:spLocks/>
          </p:cNvSpPr>
          <p:nvPr/>
        </p:nvSpPr>
        <p:spPr bwMode="auto">
          <a:xfrm>
            <a:off x="3143250" y="28575"/>
            <a:ext cx="1349375" cy="825500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18" name="Freeform 12" descr="бпла1"/>
          <p:cNvSpPr>
            <a:spLocks/>
          </p:cNvSpPr>
          <p:nvPr/>
        </p:nvSpPr>
        <p:spPr bwMode="auto">
          <a:xfrm>
            <a:off x="1609725" y="50800"/>
            <a:ext cx="1350963" cy="827088"/>
          </a:xfrm>
          <a:custGeom>
            <a:avLst/>
            <a:gdLst>
              <a:gd name="T0" fmla="*/ 0 w 996"/>
              <a:gd name="T1" fmla="*/ 937 h 773"/>
              <a:gd name="T2" fmla="*/ 698 w 996"/>
              <a:gd name="T3" fmla="*/ 935 h 773"/>
              <a:gd name="T4" fmla="*/ 1515 w 996"/>
              <a:gd name="T5" fmla="*/ 3 h 773"/>
              <a:gd name="T6" fmla="*/ 1259 w 996"/>
              <a:gd name="T7" fmla="*/ 0 h 773"/>
              <a:gd name="T8" fmla="*/ 1192 w 996"/>
              <a:gd name="T9" fmla="*/ 0 h 773"/>
              <a:gd name="T10" fmla="*/ 1111 w 996"/>
              <a:gd name="T11" fmla="*/ 10 h 773"/>
              <a:gd name="T12" fmla="*/ 1040 w 996"/>
              <a:gd name="T13" fmla="*/ 22 h 773"/>
              <a:gd name="T14" fmla="*/ 975 w 996"/>
              <a:gd name="T15" fmla="*/ 36 h 773"/>
              <a:gd name="T16" fmla="*/ 910 w 996"/>
              <a:gd name="T17" fmla="*/ 51 h 773"/>
              <a:gd name="T18" fmla="*/ 853 w 996"/>
              <a:gd name="T19" fmla="*/ 70 h 773"/>
              <a:gd name="T20" fmla="*/ 809 w 996"/>
              <a:gd name="T21" fmla="*/ 114 h 773"/>
              <a:gd name="T22" fmla="*/ 764 w 996"/>
              <a:gd name="T23" fmla="*/ 134 h 773"/>
              <a:gd name="T24" fmla="*/ 712 w 996"/>
              <a:gd name="T25" fmla="*/ 170 h 773"/>
              <a:gd name="T26" fmla="*/ 637 w 996"/>
              <a:gd name="T27" fmla="*/ 215 h 773"/>
              <a:gd name="T28" fmla="*/ 586 w 996"/>
              <a:gd name="T29" fmla="*/ 270 h 773"/>
              <a:gd name="T30" fmla="*/ 0 w 996"/>
              <a:gd name="T31" fmla="*/ 937 h 77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96"/>
              <a:gd name="T49" fmla="*/ 0 h 773"/>
              <a:gd name="T50" fmla="*/ 996 w 996"/>
              <a:gd name="T51" fmla="*/ 773 h 77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96" h="773">
                <a:moveTo>
                  <a:pt x="0" y="773"/>
                </a:moveTo>
                <a:lnTo>
                  <a:pt x="458" y="771"/>
                </a:lnTo>
                <a:lnTo>
                  <a:pt x="996" y="3"/>
                </a:lnTo>
                <a:lnTo>
                  <a:pt x="828" y="0"/>
                </a:lnTo>
                <a:lnTo>
                  <a:pt x="785" y="0"/>
                </a:lnTo>
                <a:lnTo>
                  <a:pt x="732" y="10"/>
                </a:lnTo>
                <a:lnTo>
                  <a:pt x="684" y="22"/>
                </a:lnTo>
                <a:lnTo>
                  <a:pt x="641" y="36"/>
                </a:lnTo>
                <a:lnTo>
                  <a:pt x="598" y="51"/>
                </a:lnTo>
                <a:lnTo>
                  <a:pt x="562" y="70"/>
                </a:lnTo>
                <a:lnTo>
                  <a:pt x="533" y="84"/>
                </a:lnTo>
                <a:lnTo>
                  <a:pt x="504" y="104"/>
                </a:lnTo>
                <a:lnTo>
                  <a:pt x="468" y="140"/>
                </a:lnTo>
                <a:lnTo>
                  <a:pt x="420" y="185"/>
                </a:lnTo>
                <a:lnTo>
                  <a:pt x="386" y="221"/>
                </a:lnTo>
                <a:lnTo>
                  <a:pt x="0" y="773"/>
                </a:lnTo>
                <a:close/>
              </a:path>
            </a:pathLst>
          </a:custGeom>
          <a:blipFill dpi="0"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accent6">
                <a:lumMod val="10000"/>
                <a:lumOff val="90000"/>
              </a:schemeClr>
            </a:solidFill>
            <a:round/>
            <a:headEnd/>
            <a:tailEnd/>
          </a:ln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endParaRPr lang="ru-RU"/>
          </a:p>
        </p:txBody>
      </p:sp>
      <p:sp>
        <p:nvSpPr>
          <p:cNvPr id="20" name="Параллелограмм 19"/>
          <p:cNvSpPr/>
          <p:nvPr/>
        </p:nvSpPr>
        <p:spPr>
          <a:xfrm flipV="1">
            <a:off x="1625600" y="914400"/>
            <a:ext cx="1376363" cy="838200"/>
          </a:xfrm>
          <a:prstGeom prst="parallelogram">
            <a:avLst>
              <a:gd name="adj" fmla="val 89393"/>
            </a:avLst>
          </a:prstGeom>
          <a:solidFill>
            <a:srgbClr val="DDDDDD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56686" name="AutoShape 34" descr="вокзал copy"/>
          <p:cNvSpPr>
            <a:spLocks noChangeArrowheads="1"/>
          </p:cNvSpPr>
          <p:nvPr/>
        </p:nvSpPr>
        <p:spPr bwMode="auto">
          <a:xfrm>
            <a:off x="911225" y="2700338"/>
            <a:ext cx="1284288" cy="723900"/>
          </a:xfrm>
          <a:prstGeom prst="parallelogram">
            <a:avLst>
              <a:gd name="adj" fmla="val 89758"/>
            </a:avLst>
          </a:prstGeom>
          <a:blipFill dpi="0" rotWithShape="1">
            <a:blip r:embed="rId13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wrap="none" lIns="91435" tIns="45718" rIns="91435" bIns="45718" anchor="ctr"/>
          <a:lstStyle/>
          <a:p>
            <a:pPr defTabSz="455613" eaLnBrk="1" hangingPunct="1"/>
            <a:endParaRPr lang="ru-RU" altLang="ru-RU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738642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algn="just"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водителями автотранспортных средств ПДД РФ, при проследовании железнодорожных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ов и железнодорожных путей </a:t>
            </a:r>
            <a:endParaRPr lang="ru-RU" sz="1400" b="1" i="1" dirty="0">
              <a:solidFill>
                <a:prstClr val="black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9" name="Рисунок 8" descr="C:\Users\korchaginav\Desktop\№1  переезды 2024\ДТП\ДТП ПЧ-12 26.01.2024\Фото\IMG-20240126-WA011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123" y="2828427"/>
            <a:ext cx="2052228" cy="2071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 descr="C:\Users\korchaginav\Desktop\№1  переезды 2024\ДТП\Кр.Столбы-Дивногорск\-5233266192905522297_12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14" y="647615"/>
            <a:ext cx="2179056" cy="1898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korchaginav\Desktop\№1  переезды 2024\ДПП\13.02.2024 ПЧ-3\ДПП Максимов В.Н. фото 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913" y="2823977"/>
            <a:ext cx="2073155" cy="2071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Рисунок 13" descr="C:\Users\korchaginav\Desktop\№1  переезды 2024\ДПП\08.02.2024 ПЧ-4\10bed687-07cd-4a78-bd25-4dae421a65d4.pn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647615"/>
            <a:ext cx="2124236" cy="1879924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1414" y="2838167"/>
            <a:ext cx="2179056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 январ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перегоне Красноярские Столбы – Дивногорск пригородный поезд применил экстренное торможение для предотвращения наезда на легковой  автомобиль марки «TOYOTA  RAV4»</a:t>
            </a: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:a16="http://schemas.microsoft.com/office/drawing/2014/main" xmlns="" id="{5684B2B4-2EA9-4BFB-9BF0-CD0443C63006}"/>
              </a:ext>
            </a:extLst>
          </p:cNvPr>
          <p:cNvSpPr/>
          <p:nvPr/>
        </p:nvSpPr>
        <p:spPr>
          <a:xfrm>
            <a:off x="2346707" y="660483"/>
            <a:ext cx="2179056" cy="1464459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6 январ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836 км пк 5 перегона Ирбейская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– Коростелево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Ирбейский район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) 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грузовой автомобиль марки HOWO двигаясь со стороны села Ирбейская в сторону села Новая Солянка, допустил самопроизвольный подъем кузова и выезд на железнодорожный переезд с последующим обрывом контактного провода, волновода ВОЛС, ДПР</a:t>
            </a:r>
          </a:p>
          <a:p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:a16="http://schemas.microsoft.com/office/drawing/2014/main" xmlns="" id="{22D0E5FD-EDBC-418F-B7CB-635EA97AF7C6}"/>
              </a:ext>
            </a:extLst>
          </p:cNvPr>
          <p:cNvSpPr/>
          <p:nvPr/>
        </p:nvSpPr>
        <p:spPr>
          <a:xfrm>
            <a:off x="4663651" y="2825672"/>
            <a:ext cx="2073155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 февраля 2024 г. 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4231 км пк 9  перегона Уяр – БП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4234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Уярский район)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км дежурный по переезду предотвратил столкновение пассажирского поезда с грузовым автомобилем марки «Ford Cargo»</a:t>
            </a:r>
          </a:p>
        </p:txBody>
      </p:sp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843913" y="633921"/>
            <a:ext cx="2073155" cy="1157136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3 февраля 2024 г.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ж.д. переезде 4130 км пк 8  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ст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. Красноярск-Восточный парк «З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»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Березовский райо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) </a:t>
            </a:r>
            <a:r>
              <a:rPr lang="ru-RU" sz="80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ежурный по переезду предотвратил столкновение грузовых поездов поезда с грузовым автомобилем марки MAN», груженный экскаватором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1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979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523198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водителями автотранспортных средств ПДД РФ, при проследовании железнодорожных переездов и технологического проезда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121414" y="2838166"/>
            <a:ext cx="2179056" cy="128175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2 мая </a:t>
            </a:r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 ж.д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е по  ст. Карабула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Богучанский район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автомобиль УАЗ совершил наезд на переездный светофор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:a16="http://schemas.microsoft.com/office/drawing/2014/main" xmlns="" id="{5684B2B4-2EA9-4BFB-9BF0-CD0443C63006}"/>
              </a:ext>
            </a:extLst>
          </p:cNvPr>
          <p:cNvSpPr/>
          <p:nvPr/>
        </p:nvSpPr>
        <p:spPr>
          <a:xfrm>
            <a:off x="2346707" y="660483"/>
            <a:ext cx="2179056" cy="1767251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1 июня 2024 г.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ри производстве маневровой работы на пути необщего пользования № 49 на 386 км пк 8, примыкающего к железнодорожной </a:t>
            </a:r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ст. Абакан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пересечении технологического проезда со скоростью 10 км/ч (при допустимой 15 км/ч) и белом огне локомотивного светофора, допущено столкновение вагона с автомобилем марки «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Honda INSIGHT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:a16="http://schemas.microsoft.com/office/drawing/2014/main" xmlns="" id="{22D0E5FD-EDBC-418F-B7CB-635EA97AF7C6}"/>
              </a:ext>
            </a:extLst>
          </p:cNvPr>
          <p:cNvSpPr/>
          <p:nvPr/>
        </p:nvSpPr>
        <p:spPr>
          <a:xfrm>
            <a:off x="4663651" y="2838166"/>
            <a:ext cx="2073155" cy="1497780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 августа 2024 г. </a:t>
            </a:r>
            <a:r>
              <a:rPr lang="ru-RU" sz="800" dirty="0" smtClean="0"/>
              <a:t>водителем </a:t>
            </a:r>
            <a:r>
              <a:rPr lang="ru-RU" sz="800" dirty="0"/>
              <a:t>автомобиля «Нива Шевроле</a:t>
            </a:r>
            <a:r>
              <a:rPr lang="ru-RU" sz="800" dirty="0" smtClean="0"/>
              <a:t>», допущено  </a:t>
            </a:r>
            <a:r>
              <a:rPr lang="ru-RU" sz="800" dirty="0"/>
              <a:t>столкновение с 8 направляющими столбиками, в следствии чего были сбит светофор «А» и дорожного знака 2.5 «СТОП» при проследовании регулируемого </a:t>
            </a:r>
            <a:r>
              <a:rPr lang="ru-RU" sz="800" dirty="0" smtClean="0"/>
              <a:t>ж.д. </a:t>
            </a:r>
            <a:r>
              <a:rPr lang="ru-RU" sz="800" dirty="0"/>
              <a:t>переезда, без дежурного работника на     113 км пк 3 на перегоне Красная Сопка – </a:t>
            </a:r>
            <a:r>
              <a:rPr lang="ru-RU" sz="800" dirty="0" smtClean="0"/>
              <a:t>Крутояр </a:t>
            </a:r>
            <a:r>
              <a:rPr lang="ru-RU" sz="800" b="1" dirty="0" smtClean="0"/>
              <a:t>(Ужурский район) </a:t>
            </a:r>
            <a:endParaRPr lang="ru-RU" sz="800" b="1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75">
            <a:extLst>
              <a:ext uri="{FF2B5EF4-FFF2-40B4-BE49-F238E27FC236}">
                <a16:creationId xmlns:a16="http://schemas.microsoft.com/office/drawing/2014/main" xmlns="" id="{D649C976-CAE0-486C-9739-399E5F02F6FB}"/>
              </a:ext>
            </a:extLst>
          </p:cNvPr>
          <p:cNvSpPr/>
          <p:nvPr/>
        </p:nvSpPr>
        <p:spPr>
          <a:xfrm>
            <a:off x="6843913" y="633920"/>
            <a:ext cx="2073155" cy="186582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375 км ст. Ташеба                             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Усть-Абаканский район)</a:t>
            </a: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9 января 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грузового поезда передал замечание, что через ж.д. переезд на красный сигнал светофора проехал пассажирский автобус.</a:t>
            </a:r>
          </a:p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6 июля 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электропоезда Бискамжа-Абакан, увидел приближающийся к переезду грузовой автомобиль, водитель которого не реагировал на громкие сигналы и запрещающий сигнал светофора, применил экстренное торможение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2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  <p:pic>
        <p:nvPicPr>
          <p:cNvPr id="15" name="Рисунок 14" descr="C:\Users\korchaginav\Desktop\№1  переезды 2024\ДТП\12.05.2024 Карабула\IMG-1ef7133e58de25e872e1dea972acc7d1-V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9" t="11671" r="1144" b="31179"/>
          <a:stretch/>
        </p:blipFill>
        <p:spPr bwMode="auto">
          <a:xfrm>
            <a:off x="125234" y="633921"/>
            <a:ext cx="2175236" cy="193782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2" name="Рисунок 21" descr="C:\Users\korchaginav\Desktop\№1  переезды 2024\ДТП\02. Абакан\IMG-20240611-WA0038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1" y="2704259"/>
            <a:ext cx="2114002" cy="21891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 descr="C:\Users\korchaginav\Desktop\№1  переезды 2024\ДТП\03.08.2024 Крутояр\1.pn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3651" y="660483"/>
            <a:ext cx="2073155" cy="1911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3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913" y="2704258"/>
            <a:ext cx="2073155" cy="2189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2548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"/>
            <a:ext cx="8316416" cy="523198"/>
          </a:xfrm>
          <a:prstGeom prst="rect">
            <a:avLst/>
          </a:prstGeom>
          <a:noFill/>
        </p:spPr>
        <p:txBody>
          <a:bodyPr wrap="square" lIns="91420" tIns="45709" rIns="91420" bIns="45709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noProof="0" dirty="0" smtClean="0">
                <a:solidFill>
                  <a:prstClr val="black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рушения водителями автотранспортных средств ПДД РФ, при проследовании железнодорожных переездов и железнодорожных путей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Скругленный прямоугольник 75">
            <a:extLst>
              <a:ext uri="{FF2B5EF4-FFF2-40B4-BE49-F238E27FC236}">
                <a16:creationId xmlns:a16="http://schemas.microsoft.com/office/drawing/2014/main" xmlns="" id="{CA7B4BFF-2B01-434E-B1F1-98505B583DEA}"/>
              </a:ext>
            </a:extLst>
          </p:cNvPr>
          <p:cNvSpPr/>
          <p:nvPr/>
        </p:nvSpPr>
        <p:spPr>
          <a:xfrm>
            <a:off x="215516" y="2838167"/>
            <a:ext cx="2522733" cy="1065732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4 сентября </a:t>
            </a:r>
            <a:r>
              <a:rPr lang="ru-RU" sz="800" b="1" dirty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4 г. 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на  ж.д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ереезде 4180 км перегон Камарчага-Балай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Манский район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дежурный по переезду предотвратил столкновение грузового поезда с легковым автомобилем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8" name="Скругленный прямоугольник 75">
            <a:extLst>
              <a:ext uri="{FF2B5EF4-FFF2-40B4-BE49-F238E27FC236}">
                <a16:creationId xmlns:a16="http://schemas.microsoft.com/office/drawing/2014/main" xmlns="" id="{5684B2B4-2EA9-4BFB-9BF0-CD0443C63006}"/>
              </a:ext>
            </a:extLst>
          </p:cNvPr>
          <p:cNvSpPr/>
          <p:nvPr/>
        </p:nvSpPr>
        <p:spPr>
          <a:xfrm>
            <a:off x="2987824" y="660483"/>
            <a:ext cx="2664296" cy="144321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0 октября 2024 г.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машинист грузового поезда на ст. Теба </a:t>
            </a:r>
            <a:r>
              <a:rPr lang="ru-RU" sz="800" b="1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(Междуреченский муниципальный округ) </a:t>
            </a:r>
            <a:r>
              <a:rPr lang="ru-RU" sz="800" dirty="0" smtClean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применил экстренное торможение предотвращая наезд на постороннего человека перетаскивающего мотоцикл через железнодорожный путь. Водитель мотоцикла с места ДТП скрылся, оставив автотранспортное средства внутри колеи, у которого не было государственного номера  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75">
            <a:extLst>
              <a:ext uri="{FF2B5EF4-FFF2-40B4-BE49-F238E27FC236}">
                <a16:creationId xmlns:a16="http://schemas.microsoft.com/office/drawing/2014/main" xmlns="" id="{22D0E5FD-EDBC-418F-B7CB-635EA97AF7C6}"/>
              </a:ext>
            </a:extLst>
          </p:cNvPr>
          <p:cNvSpPr/>
          <p:nvPr/>
        </p:nvSpPr>
        <p:spPr>
          <a:xfrm>
            <a:off x="6156176" y="2879096"/>
            <a:ext cx="2736304" cy="1240825"/>
          </a:xfrm>
          <a:prstGeom prst="roundRect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3 октября 2024 г.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водитель автомобиля КАМАЗ  с крановой установкой на ж.д. переезде 279 км перегона Казановская-Аскиз </a:t>
            </a:r>
            <a:r>
              <a:rPr lang="ru-RU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Аскизский район)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не справившийся с управлением допустил выезд на встречную полосу для движения, сбил две опоры освещения, 6 шт. направляющих столбиков, повредил кровлю пункта обогрева, без столкновения с подвижным составом</a:t>
            </a:r>
            <a:endParaRPr lang="ru-RU" sz="800" dirty="0"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3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  <p:pic>
        <p:nvPicPr>
          <p:cNvPr id="14" name="Рисунок 13" descr="C:\Users\korchaginav\Desktop\№1  переезды 2024\ДПП\24.09.2024 ПЧ-4\7b16da9d-468a-421c-adbd-567291ea157d.pn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06" r="9055" b="8596"/>
          <a:stretch/>
        </p:blipFill>
        <p:spPr bwMode="auto">
          <a:xfrm>
            <a:off x="215516" y="701665"/>
            <a:ext cx="2470366" cy="191126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5" name="Рисунок 24" descr="C:\Users\korchaginav\Desktop\№1  переезды 2024\ДТП\10.10.2024  ПЧ-7 ДТП вне переезда\IMG-20241010-WA000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2620170"/>
            <a:ext cx="2664296" cy="2231656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C:\Users\korchaginav\Desktop\13.10.2024 ДТП ПЧ-8\IMG-20241013-WA001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633920"/>
            <a:ext cx="2736304" cy="19378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7435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Прямоугольник 57"/>
          <p:cNvSpPr/>
          <p:nvPr/>
        </p:nvSpPr>
        <p:spPr>
          <a:xfrm>
            <a:off x="323528" y="1995686"/>
            <a:ext cx="8568952" cy="2160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</a:prstClr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BC418221-F60F-4E63-B8D0-394F2B31D7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516" y="4893433"/>
            <a:ext cx="5087392" cy="223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5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2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6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4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40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8" algn="l" defTabSz="91435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ECA99A7-A05A-477F-AD97-8715D23E8680}" type="slidenum">
              <a:rPr lang="en-US" sz="1000">
                <a:latin typeface="Verdana" pitchFamily="34" charset="0"/>
                <a:ea typeface="Verdana" pitchFamily="34" charset="0"/>
              </a:rPr>
              <a:pPr/>
              <a:t>4</a:t>
            </a:fld>
            <a:r>
              <a:rPr lang="ru-RU" sz="1000" dirty="0">
                <a:latin typeface="Verdana" pitchFamily="34" charset="0"/>
                <a:ea typeface="Verdana" pitchFamily="34" charset="0"/>
              </a:rPr>
              <a:t> </a:t>
            </a:r>
            <a:r>
              <a:rPr lang="en-US" sz="1000" dirty="0">
                <a:latin typeface="Verdana" pitchFamily="34" charset="0"/>
                <a:ea typeface="Verdana" pitchFamily="34" charset="0"/>
              </a:rPr>
              <a:t>| </a:t>
            </a:r>
            <a:r>
              <a:rPr lang="ru-RU" sz="1000" dirty="0">
                <a:latin typeface="Verdana" pitchFamily="34" charset="0"/>
                <a:ea typeface="Verdana" pitchFamily="34" charset="0"/>
              </a:rPr>
              <a:t>Красноярская дирекция инфраструктуры</a:t>
            </a:r>
            <a:endParaRPr lang="en-US" sz="1000" dirty="0">
              <a:latin typeface="Verdana" pitchFamily="34" charset="0"/>
              <a:ea typeface="Verdana" pitchFamily="34" charset="0"/>
            </a:endParaRPr>
          </a:p>
        </p:txBody>
      </p:sp>
      <p:sp>
        <p:nvSpPr>
          <p:cNvPr id="5" name="Скругленный прямоугольник 75">
            <a:extLst>
              <a:ext uri="{FF2B5EF4-FFF2-40B4-BE49-F238E27FC236}">
                <a16:creationId xmlns="" xmlns:a16="http://schemas.microsoft.com/office/drawing/2014/main" id="{CA7B4BFF-2B01-434E-B1F1-98505B583DEA}"/>
              </a:ext>
            </a:extLst>
          </p:cNvPr>
          <p:cNvSpPr/>
          <p:nvPr/>
        </p:nvSpPr>
        <p:spPr>
          <a:xfrm>
            <a:off x="0" y="663538"/>
            <a:ext cx="9144000" cy="417646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3175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449263" algn="just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Хочу поблагодарить за активное сотрудничество в проведении совместной профилактической работы и за размещения предоставляемой нами информации на своих официальных страницах, руководителей и работников всех администраций районов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, округов,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ородов, сельсоветов и поселков.</a:t>
            </a:r>
          </a:p>
          <a:p>
            <a:pPr indent="449263" algn="just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ерю, что наша совместная профилактическая работа и работа по закрытию железнодорожных переездов в этом году и в следующем году приведет столкновения подвижного состава с автотранспортными средствами к нулевым значениям, а наша совместная работа по приведению обустройств железнодорожных переездов к нормативным требованиям приведет к тому, что все железнодорожные переезды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асноярской железной дороги станут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деальными и лучшими в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ссии, что в свою очередь придет к отсутствию жалоб, от жителей и гостей 4-х субъектов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Ф (Красноярский край, Республика Хакасия, Кемеровская область, Иркутская </a:t>
            </a:r>
            <a:r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t>область)!!!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894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Вердана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9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Изящная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94A58">
            <a:lumMod val="20000"/>
            <a:lumOff val="80000"/>
          </a:srgbClr>
        </a:solidFill>
        <a:ln w="12700" cap="flat" cmpd="sng" algn="ctr">
          <a:solidFill>
            <a:sysClr val="window" lastClr="FFFFFF"/>
          </a:solidFill>
          <a:prstDash val="solid"/>
          <a:miter lim="800000"/>
        </a:ln>
        <a:effectLst/>
      </a:spPr>
      <a:bodyPr rtlCol="0" anchor="ctr"/>
      <a:lstStyle>
        <a:defPPr marL="88900" marR="0" algn="just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900" b="1" kern="0" dirty="0" smtClean="0">
            <a:solidFill>
              <a:srgbClr val="0066A1">
                <a:lumMod val="75000"/>
              </a:srgbClr>
            </a:solidFill>
            <a:latin typeface="Trebuchet MS"/>
            <a:ea typeface="Calibri" pitchFamily="34" charset="0"/>
            <a:cs typeface="Times New Roman" pitchFamily="18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106</TotalTime>
  <Words>704</Words>
  <Application>Microsoft Office PowerPoint</Application>
  <PresentationFormat>Экран (16:9)</PresentationFormat>
  <Paragraphs>31</Paragraphs>
  <Slides>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Тема Office</vt:lpstr>
      <vt:lpstr>8_Специальное оформление</vt:lpstr>
      <vt:lpstr>9_Специальное оформление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korchaginav</cp:lastModifiedBy>
  <cp:revision>9196</cp:revision>
  <cp:lastPrinted>2024-08-30T00:23:45Z</cp:lastPrinted>
  <dcterms:created xsi:type="dcterms:W3CDTF">2011-05-23T14:04:51Z</dcterms:created>
  <dcterms:modified xsi:type="dcterms:W3CDTF">2024-10-14T02:42:42Z</dcterms:modified>
</cp:coreProperties>
</file>